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78" r:id="rId5"/>
    <p:sldMasterId id="2147483666" r:id="rId6"/>
  </p:sldMasterIdLst>
  <p:notesMasterIdLst>
    <p:notesMasterId r:id="rId20"/>
  </p:notesMasterIdLst>
  <p:sldIdLst>
    <p:sldId id="269" r:id="rId7"/>
    <p:sldId id="297" r:id="rId8"/>
    <p:sldId id="266" r:id="rId9"/>
    <p:sldId id="430" r:id="rId10"/>
    <p:sldId id="436" r:id="rId11"/>
    <p:sldId id="437" r:id="rId12"/>
    <p:sldId id="439" r:id="rId13"/>
    <p:sldId id="433" r:id="rId14"/>
    <p:sldId id="415" r:id="rId15"/>
    <p:sldId id="416" r:id="rId16"/>
    <p:sldId id="425" r:id="rId17"/>
    <p:sldId id="426" r:id="rId18"/>
    <p:sldId id="438" r:id="rId19"/>
  </p:sldIdLst>
  <p:sldSz cx="9144000" cy="6858000" type="screen4x3"/>
  <p:notesSz cx="6735763" cy="98663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1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D16752-C727-FFCD-ECA8-9EDB53A14B81}" v="12" dt="2023-06-12T05:49:26.7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43" autoAdjust="0"/>
    <p:restoredTop sz="95026" autoAdjust="0"/>
  </p:normalViewPr>
  <p:slideViewPr>
    <p:cSldViewPr snapToObjects="1">
      <p:cViewPr varScale="1">
        <p:scale>
          <a:sx n="82" d="100"/>
          <a:sy n="82" d="100"/>
        </p:scale>
        <p:origin x="1651" y="72"/>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varScale="1">
        <p:scale>
          <a:sx n="58" d="100"/>
          <a:sy n="58" d="100"/>
        </p:scale>
        <p:origin x="33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6/1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86459FBA-4A61-192A-BDF7-644DD3358D3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A6064FE4-7F58-F3D4-7498-A64F6D2FED7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CB008A16-6104-A8F4-5665-AFF7FEBF3B6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61637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DFE280DD-4D53-87D0-0A83-DE2D1619FBB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142926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65E523FB-5681-AA00-D623-A8FC330675E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84423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29C45D89-C50A-6713-3BEB-9C17013B8B9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54DF5255-FACB-4FAB-71B1-DB9CDF40A1D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72ADD12E-332F-D8D4-7AB5-4971F5A45A6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01892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1A0BB999-CC21-99A1-87B0-9F2C85DCADD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349945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894E300C-AAB5-551C-528F-2D05E2BE02F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768336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CA47CF10-A3BF-9CD5-6574-ED89F947646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08566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903184BD-3A39-9906-F358-1CF700BC159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A1789D71-23D7-DF57-6736-9481CA13795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031168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1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6/1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1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75A1728-B4B5-4B7C-891E-2088FF547704}"/>
              </a:ext>
            </a:extLst>
          </p:cNvPr>
          <p:cNvGraphicFramePr>
            <a:graphicFrameLocks noChangeAspect="1"/>
          </p:cNvGraphicFramePr>
          <p:nvPr userDrawn="1">
            <p:custDataLst>
              <p:tags r:id="rId13"/>
            </p:custDataLst>
            <p:extLst>
              <p:ext uri="{D42A27DB-BD31-4B8C-83A1-F6EECF244321}">
                <p14:modId xmlns:p14="http://schemas.microsoft.com/office/powerpoint/2010/main" val="1004053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375A1728-B4B5-4B7C-891E-2088FF54770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6/1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C2DAEC1-BED6-4D75-8C1E-1190901BD46F}"/>
              </a:ext>
            </a:extLst>
          </p:cNvPr>
          <p:cNvGraphicFramePr>
            <a:graphicFrameLocks noChangeAspect="1"/>
          </p:cNvGraphicFramePr>
          <p:nvPr userDrawn="1">
            <p:custDataLst>
              <p:tags r:id="rId13"/>
            </p:custDataLst>
            <p:extLst>
              <p:ext uri="{D42A27DB-BD31-4B8C-83A1-F6EECF244321}">
                <p14:modId xmlns:p14="http://schemas.microsoft.com/office/powerpoint/2010/main" val="276371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8C2DAEC1-BED6-4D75-8C1E-1190901BD46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6/1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0.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3.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11.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7.png"/><Relationship Id="rId11" Type="http://schemas.openxmlformats.org/officeDocument/2006/relationships/image" Target="../media/image16.png"/><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26.png"/><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4.bin"/><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image" Target="../media/image10.png"/><Relationship Id="rId4" Type="http://schemas.openxmlformats.org/officeDocument/2006/relationships/image" Target="../media/image6.png"/><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6.xml"/><Relationship Id="rId7"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1.emf"/><Relationship Id="rId12"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4.bin"/><Relationship Id="rId11" Type="http://schemas.openxmlformats.org/officeDocument/2006/relationships/image" Target="../media/image5.png"/><Relationship Id="rId5" Type="http://schemas.openxmlformats.org/officeDocument/2006/relationships/image" Target="../media/image7.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5.bin"/><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9.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png"/><Relationship Id="rId10" Type="http://schemas.openxmlformats.org/officeDocument/2006/relationships/image" Target="../media/image16.png"/><Relationship Id="rId4" Type="http://schemas.openxmlformats.org/officeDocument/2006/relationships/image" Target="../media/image19.png"/><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19078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インターネ</a:t>
            </a:r>
            <a:r>
              <a:rPr lang="ja-JP" altLang="en-US" sz="4800" spc="-1000" dirty="0">
                <a:solidFill>
                  <a:schemeClr val="bg1"/>
                </a:solidFill>
              </a:rPr>
              <a:t>ッ</a:t>
            </a:r>
            <a:r>
              <a:rPr lang="ja-JP" altLang="en-US" sz="4800" dirty="0">
                <a:solidFill>
                  <a:schemeClr val="bg1"/>
                </a:solidFill>
              </a:rPr>
              <a:t>トの使い方</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っているうさぎ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図形グループ 7"/>
          <p:cNvGrpSpPr/>
          <p:nvPr/>
        </p:nvGrpSpPr>
        <p:grpSpPr>
          <a:xfrm>
            <a:off x="518390" y="198514"/>
            <a:ext cx="2160000" cy="813477"/>
            <a:chOff x="518390" y="198514"/>
            <a:chExt cx="2160000"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20206" y="220542"/>
              <a:ext cx="1149417"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Android</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115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C5405FD1-AD00-454F-84BA-A12EF04C3F18}"/>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図 44" descr="ブックマーク一覧画面で各ページの右側にある「その他」アイコンの画像">
            <a:extLst>
              <a:ext uri="{FF2B5EF4-FFF2-40B4-BE49-F238E27FC236}">
                <a16:creationId xmlns:a16="http://schemas.microsoft.com/office/drawing/2014/main" id="{0AD31A4C-8C9B-4965-B7D1-728D4BF27D6A}"/>
              </a:ext>
            </a:extLst>
          </p:cNvPr>
          <p:cNvPicPr>
            <a:picLocks noChangeAspect="1"/>
          </p:cNvPicPr>
          <p:nvPr/>
        </p:nvPicPr>
        <p:blipFill>
          <a:blip r:embed="rId4"/>
          <a:stretch>
            <a:fillRect/>
          </a:stretch>
        </p:blipFill>
        <p:spPr>
          <a:xfrm>
            <a:off x="984836" y="3450736"/>
            <a:ext cx="2880000" cy="2679722"/>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5990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9408"/>
            <a:ext cx="8384676" cy="360000"/>
          </a:xfrm>
        </p:spPr>
        <p:txBody>
          <a:bodyPr>
            <a:noAutofit/>
          </a:bodyPr>
          <a:lstStyle/>
          <a:p>
            <a:pPr marL="8975">
              <a:spcBef>
                <a:spcPts val="71"/>
              </a:spcBef>
            </a:pPr>
            <a:r>
              <a:rPr lang="ja-JP" altLang="en-US" spc="-21" dirty="0">
                <a:latin typeface="AoyagiKouzanFontT"/>
                <a:cs typeface="AoyagiKouzanFontT"/>
              </a:rPr>
              <a:t>ブ</a:t>
            </a:r>
            <a:r>
              <a:rPr lang="ja-JP" altLang="en-US" spc="11" dirty="0">
                <a:latin typeface="AoyagiKouzanFontT"/>
                <a:cs typeface="AoyagiKouzanFontT"/>
              </a:rPr>
              <a:t>ッ</a:t>
            </a:r>
            <a:r>
              <a:rPr lang="ja-JP" altLang="en-US" spc="-11" dirty="0">
                <a:latin typeface="AoyagiKouzanFontT"/>
                <a:cs typeface="AoyagiKouzanFontT"/>
              </a:rPr>
              <a:t>ク</a:t>
            </a:r>
            <a:r>
              <a:rPr lang="ja-JP" altLang="en-US" spc="14" dirty="0">
                <a:latin typeface="AoyagiKouzanFontT"/>
                <a:cs typeface="AoyagiKouzanFontT"/>
              </a:rPr>
              <a:t>マ</a:t>
            </a:r>
            <a:r>
              <a:rPr lang="ja-JP" altLang="en-US" spc="-39" dirty="0">
                <a:latin typeface="AoyagiKouzanFontT"/>
                <a:cs typeface="AoyagiKouzanFontT"/>
              </a:rPr>
              <a:t>ー</a:t>
            </a:r>
            <a:r>
              <a:rPr lang="ja-JP" altLang="en-US" spc="-4" dirty="0">
                <a:latin typeface="AoyagiKouzanFontT"/>
                <a:cs typeface="AoyagiKouzanFontT"/>
              </a:rPr>
              <a:t>ク</a:t>
            </a:r>
            <a:r>
              <a:rPr lang="ja-JP" altLang="en-US" spc="-14" dirty="0">
                <a:latin typeface="AoyagiKouzanFontT"/>
                <a:cs typeface="AoyagiKouzanFontT"/>
              </a:rPr>
              <a:t>か</a:t>
            </a:r>
            <a:r>
              <a:rPr lang="ja-JP" altLang="en-US" spc="7" dirty="0">
                <a:latin typeface="AoyagiKouzanFontT"/>
                <a:cs typeface="AoyagiKouzanFontT"/>
              </a:rPr>
              <a:t>ら</a:t>
            </a:r>
            <a:r>
              <a:rPr lang="ja-JP" altLang="en-US" spc="-18" dirty="0">
                <a:latin typeface="AoyagiKouzanFontT"/>
                <a:cs typeface="AoyagiKouzanFontT"/>
              </a:rPr>
              <a:t>ぺ</a:t>
            </a:r>
            <a:r>
              <a:rPr lang="ja-JP" altLang="en-US" spc="-39" dirty="0">
                <a:latin typeface="AoyagiKouzanFontT"/>
                <a:cs typeface="AoyagiKouzanFontT"/>
              </a:rPr>
              <a:t>ー</a:t>
            </a:r>
            <a:r>
              <a:rPr lang="ja-JP" altLang="en-US" spc="4" dirty="0">
                <a:latin typeface="AoyagiKouzanFontT"/>
                <a:cs typeface="AoyagiKouzanFontT"/>
              </a:rPr>
              <a:t>ジ</a:t>
            </a:r>
            <a:r>
              <a:rPr lang="ja-JP" altLang="en-US" spc="25" dirty="0">
                <a:latin typeface="AoyagiKouzanFontT"/>
                <a:cs typeface="AoyagiKouzanFontT"/>
              </a:rPr>
              <a:t>を</a:t>
            </a:r>
            <a:r>
              <a:rPr lang="ja-JP" altLang="en-US" dirty="0">
                <a:latin typeface="AoyagiKouzanFontT"/>
                <a:cs typeface="AoyagiKouzanFontT"/>
              </a:rPr>
              <a:t>削</a:t>
            </a:r>
            <a:r>
              <a:rPr lang="ja-JP" altLang="en-US" spc="7" dirty="0">
                <a:latin typeface="AoyagiKouzanFontT"/>
                <a:cs typeface="AoyagiKouzanFontT"/>
              </a:rPr>
              <a:t>除</a:t>
            </a:r>
            <a:r>
              <a:rPr lang="ja-JP" altLang="en-US" spc="-7" dirty="0">
                <a:latin typeface="AoyagiKouzanFontT"/>
                <a:cs typeface="AoyagiKouzanFontT"/>
              </a:rPr>
              <a:t>す</a:t>
            </a:r>
            <a:r>
              <a:rPr lang="ja-JP" altLang="en-US" spc="7" dirty="0">
                <a:latin typeface="AoyagiKouzanFontT"/>
                <a:cs typeface="AoyagiKouzanFontT"/>
              </a:rPr>
              <a:t>る</a:t>
            </a:r>
            <a:r>
              <a:rPr lang="ja-JP" altLang="en-US" dirty="0">
                <a:latin typeface="AoyagiKouzanFontT"/>
                <a:cs typeface="AoyagiKouzanFontT"/>
              </a:rPr>
              <a:t>方法。</a:t>
            </a:r>
            <a:endParaRPr lang="en-US" altLang="ja-JP" dirty="0">
              <a:latin typeface="AoyagiKouzanFontT"/>
              <a:cs typeface="AoyagiKouzanFontT"/>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5248488" y="1939064"/>
            <a:ext cx="270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削除を押す</a:t>
            </a:r>
            <a:endParaRPr lang="ja-JP" altLang="en-US" sz="1600" b="1"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412335" y="5132872"/>
            <a:ext cx="432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494285" y="5132872"/>
            <a:ext cx="1872000" cy="43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38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4749444" y="18638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49865" y="1939064"/>
            <a:ext cx="3600000" cy="584775"/>
          </a:xfrm>
          <a:prstGeom prst="rect">
            <a:avLst/>
          </a:prstGeom>
          <a:noFill/>
        </p:spPr>
        <p:txBody>
          <a:bodyPr wrap="square" lIns="91440" tIns="45720" rIns="91440" bIns="45720" rtlCol="0" anchor="t">
            <a:spAutoFit/>
          </a:bodyPr>
          <a:lstStyle/>
          <a:p>
            <a:pPr marL="133350" indent="-123825"/>
            <a:r>
              <a:rPr lang="en-US" altLang="ja-JP" sz="1600" b="1" kern="100" dirty="0">
                <a:latin typeface="メイリオ"/>
                <a:ea typeface="メイリオ"/>
                <a:cs typeface="メイリオ" panose="020B0604030504040204" pitchFamily="50" charset="-128"/>
              </a:rPr>
              <a:t>  P9</a:t>
            </a:r>
            <a:r>
              <a:rPr lang="ja-JP" altLang="en-US" sz="1600" b="1" kern="100">
                <a:latin typeface="メイリオ"/>
                <a:ea typeface="メイリオ"/>
                <a:cs typeface="メイリオ" panose="020B0604030504040204" pitchFamily="50" charset="-128"/>
              </a:rPr>
              <a:t>で表示したブックマークの</a:t>
            </a:r>
            <a:endParaRPr lang="en-US" altLang="ja-JP" sz="1600" b="1" kern="100">
              <a:latin typeface="メイリオ"/>
              <a:ea typeface="メイリオ"/>
              <a:cs typeface="メイリオ" panose="020B0604030504040204" pitchFamily="50" charset="-128"/>
            </a:endParaRPr>
          </a:p>
          <a:p>
            <a:pPr marL="133350" indent="-123825"/>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ぺージ</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を開きます</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752302" y="2660424"/>
            <a:ext cx="3600000" cy="584775"/>
          </a:xfrm>
          <a:prstGeom prst="rect">
            <a:avLst/>
          </a:prstGeom>
          <a:noFill/>
        </p:spPr>
        <p:txBody>
          <a:bodyPr wrap="square" rtlCol="0">
            <a:spAutoFit/>
          </a:bodyPr>
          <a:lstStyle/>
          <a:p>
            <a:pPr indent="9525"/>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削除したいぺージの右にある</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indent="9525"/>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３つの点のボタン「　 」</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6A013054-7987-46D2-89A9-B09248912486}"/>
              </a:ext>
            </a:extLst>
          </p:cNvPr>
          <p:cNvSpPr txBox="1"/>
          <p:nvPr/>
        </p:nvSpPr>
        <p:spPr>
          <a:xfrm>
            <a:off x="431444" y="25852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0" name="タイトル 1"/>
          <p:cNvSpPr>
            <a:spLocks noGrp="1" noChangeAspect="1"/>
          </p:cNvSpPr>
          <p:nvPr>
            <p:ph type="ctrTitle"/>
          </p:nvPr>
        </p:nvSpPr>
        <p:spPr>
          <a:xfrm>
            <a:off x="1770127" y="229314"/>
            <a:ext cx="5930726" cy="800219"/>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sz="2800" kern="0" dirty="0"/>
              <a:t>ブックマークからページを</a:t>
            </a:r>
            <a:r>
              <a:rPr lang="ja-JP" altLang="en-US" sz="2800" dirty="0">
                <a:latin typeface="AoyagiKouzanFontT"/>
                <a:cs typeface="AoyagiKouzanFontT"/>
              </a:rPr>
              <a:t>削</a:t>
            </a:r>
            <a:r>
              <a:rPr lang="ja-JP" altLang="en-US" sz="2800" spc="7" dirty="0">
                <a:latin typeface="AoyagiKouzanFontT"/>
                <a:cs typeface="AoyagiKouzanFontT"/>
              </a:rPr>
              <a:t>除</a:t>
            </a:r>
            <a:r>
              <a:rPr lang="ja-JP" altLang="en-US" sz="2800" spc="-7" dirty="0">
                <a:latin typeface="AoyagiKouzanFontT"/>
                <a:cs typeface="AoyagiKouzanFontT"/>
              </a:rPr>
              <a:t>す</a:t>
            </a:r>
            <a:r>
              <a:rPr lang="ja-JP" altLang="en-US" sz="2800" spc="7" dirty="0">
                <a:latin typeface="AoyagiKouzanFontT"/>
                <a:cs typeface="AoyagiKouzanFontT"/>
              </a:rPr>
              <a:t>る</a:t>
            </a:r>
            <a:endParaRPr kumimoji="0" lang="ja-JP" altLang="en-US" sz="2800" kern="0" dirty="0"/>
          </a:p>
        </p:txBody>
      </p:sp>
      <p:grpSp>
        <p:nvGrpSpPr>
          <p:cNvPr id="2" name="グループ化 1" descr="「その他」のメニューが表示された画像">
            <a:extLst>
              <a:ext uri="{FF2B5EF4-FFF2-40B4-BE49-F238E27FC236}">
                <a16:creationId xmlns:a16="http://schemas.microsoft.com/office/drawing/2014/main" id="{0D6E3931-C2AE-4692-9E17-384E4F5233D0}"/>
              </a:ext>
            </a:extLst>
          </p:cNvPr>
          <p:cNvGrpSpPr/>
          <p:nvPr/>
        </p:nvGrpSpPr>
        <p:grpSpPr>
          <a:xfrm>
            <a:off x="5306444" y="2350748"/>
            <a:ext cx="2693580" cy="3780000"/>
            <a:chOff x="5306444" y="2350748"/>
            <a:chExt cx="2693580" cy="3780000"/>
          </a:xfrm>
        </p:grpSpPr>
        <p:pic>
          <p:nvPicPr>
            <p:cNvPr id="44" name="図 43">
              <a:extLst>
                <a:ext uri="{FF2B5EF4-FFF2-40B4-BE49-F238E27FC236}">
                  <a16:creationId xmlns:a16="http://schemas.microsoft.com/office/drawing/2014/main" id="{1BD90FEC-F887-489F-B63F-36E2596E0355}"/>
                </a:ext>
              </a:extLst>
            </p:cNvPr>
            <p:cNvPicPr>
              <a:picLocks noChangeAspect="1"/>
            </p:cNvPicPr>
            <p:nvPr/>
          </p:nvPicPr>
          <p:blipFill>
            <a:blip r:embed="rId7"/>
            <a:stretch>
              <a:fillRect/>
            </a:stretch>
          </p:blipFill>
          <p:spPr>
            <a:xfrm>
              <a:off x="5306444" y="2350748"/>
              <a:ext cx="2693580" cy="3780000"/>
            </a:xfrm>
            <a:prstGeom prst="rect">
              <a:avLst/>
            </a:prstGeom>
            <a:ln>
              <a:solidFill>
                <a:schemeClr val="tx1">
                  <a:lumMod val="50000"/>
                  <a:lumOff val="50000"/>
                </a:schemeClr>
              </a:solidFill>
            </a:ln>
          </p:spPr>
        </p:pic>
        <p:sp>
          <p:nvSpPr>
            <p:cNvPr id="89" name="object 20">
              <a:extLst>
                <a:ext uri="{FF2B5EF4-FFF2-40B4-BE49-F238E27FC236}">
                  <a16:creationId xmlns:a16="http://schemas.microsoft.com/office/drawing/2014/main" id="{8A5D6C7B-8C68-41B1-9867-A187C3D6F7C8}"/>
                </a:ext>
              </a:extLst>
            </p:cNvPr>
            <p:cNvSpPr/>
            <p:nvPr/>
          </p:nvSpPr>
          <p:spPr>
            <a:xfrm>
              <a:off x="6598488" y="4038015"/>
              <a:ext cx="276598" cy="133876"/>
            </a:xfrm>
            <a:custGeom>
              <a:avLst/>
              <a:gdLst/>
              <a:ahLst/>
              <a:cxnLst/>
              <a:rect l="l" t="t" r="r" b="b"/>
              <a:pathLst>
                <a:path w="297814" h="144145">
                  <a:moveTo>
                    <a:pt x="4900" y="76869"/>
                  </a:moveTo>
                  <a:lnTo>
                    <a:pt x="0" y="69260"/>
                  </a:lnTo>
                  <a:lnTo>
                    <a:pt x="8321" y="65279"/>
                  </a:lnTo>
                  <a:lnTo>
                    <a:pt x="16020" y="61153"/>
                  </a:lnTo>
                  <a:lnTo>
                    <a:pt x="48434" y="36340"/>
                  </a:lnTo>
                  <a:lnTo>
                    <a:pt x="64442" y="17264"/>
                  </a:lnTo>
                  <a:lnTo>
                    <a:pt x="25929" y="17264"/>
                  </a:lnTo>
                  <a:lnTo>
                    <a:pt x="23738" y="7143"/>
                  </a:lnTo>
                  <a:lnTo>
                    <a:pt x="66023" y="7143"/>
                  </a:lnTo>
                  <a:lnTo>
                    <a:pt x="72288" y="1041"/>
                  </a:lnTo>
                  <a:lnTo>
                    <a:pt x="80184" y="6399"/>
                  </a:lnTo>
                  <a:lnTo>
                    <a:pt x="84087" y="10141"/>
                  </a:lnTo>
                  <a:lnTo>
                    <a:pt x="84087" y="13802"/>
                  </a:lnTo>
                  <a:lnTo>
                    <a:pt x="83462" y="14839"/>
                  </a:lnTo>
                  <a:lnTo>
                    <a:pt x="82211" y="15465"/>
                  </a:lnTo>
                  <a:lnTo>
                    <a:pt x="80649" y="16044"/>
                  </a:lnTo>
                  <a:lnTo>
                    <a:pt x="78781" y="16044"/>
                  </a:lnTo>
                  <a:lnTo>
                    <a:pt x="78576" y="16137"/>
                  </a:lnTo>
                  <a:lnTo>
                    <a:pt x="78581" y="16809"/>
                  </a:lnTo>
                  <a:lnTo>
                    <a:pt x="79421" y="16809"/>
                  </a:lnTo>
                  <a:lnTo>
                    <a:pt x="82804" y="20835"/>
                  </a:lnTo>
                  <a:lnTo>
                    <a:pt x="84856" y="23142"/>
                  </a:lnTo>
                  <a:lnTo>
                    <a:pt x="73319" y="23142"/>
                  </a:lnTo>
                  <a:lnTo>
                    <a:pt x="67152" y="31907"/>
                  </a:lnTo>
                  <a:lnTo>
                    <a:pt x="59896" y="40038"/>
                  </a:lnTo>
                  <a:lnTo>
                    <a:pt x="51489" y="47579"/>
                  </a:lnTo>
                  <a:lnTo>
                    <a:pt x="42118" y="54396"/>
                  </a:lnTo>
                  <a:lnTo>
                    <a:pt x="103524" y="54396"/>
                  </a:lnTo>
                  <a:lnTo>
                    <a:pt x="104159" y="54837"/>
                  </a:lnTo>
                  <a:lnTo>
                    <a:pt x="108197" y="58330"/>
                  </a:lnTo>
                  <a:lnTo>
                    <a:pt x="107691" y="59233"/>
                  </a:lnTo>
                  <a:lnTo>
                    <a:pt x="37116" y="59233"/>
                  </a:lnTo>
                  <a:lnTo>
                    <a:pt x="30779" y="63849"/>
                  </a:lnTo>
                  <a:lnTo>
                    <a:pt x="23297" y="68327"/>
                  </a:lnTo>
                  <a:lnTo>
                    <a:pt x="14671" y="72667"/>
                  </a:lnTo>
                  <a:lnTo>
                    <a:pt x="4900" y="76869"/>
                  </a:lnTo>
                  <a:close/>
                </a:path>
                <a:path w="297814" h="144145">
                  <a:moveTo>
                    <a:pt x="104851" y="28277"/>
                  </a:moveTo>
                  <a:lnTo>
                    <a:pt x="89647" y="28277"/>
                  </a:lnTo>
                  <a:lnTo>
                    <a:pt x="94388" y="23583"/>
                  </a:lnTo>
                  <a:lnTo>
                    <a:pt x="99161" y="18371"/>
                  </a:lnTo>
                  <a:lnTo>
                    <a:pt x="103968" y="12644"/>
                  </a:lnTo>
                  <a:lnTo>
                    <a:pt x="108809" y="6399"/>
                  </a:lnTo>
                  <a:lnTo>
                    <a:pt x="117926" y="11093"/>
                  </a:lnTo>
                  <a:lnTo>
                    <a:pt x="122485" y="14764"/>
                  </a:lnTo>
                  <a:lnTo>
                    <a:pt x="122485" y="19695"/>
                  </a:lnTo>
                  <a:lnTo>
                    <a:pt x="120969" y="20612"/>
                  </a:lnTo>
                  <a:lnTo>
                    <a:pt x="113893" y="20612"/>
                  </a:lnTo>
                  <a:lnTo>
                    <a:pt x="108615" y="25521"/>
                  </a:lnTo>
                  <a:lnTo>
                    <a:pt x="104851" y="28277"/>
                  </a:lnTo>
                  <a:close/>
                </a:path>
                <a:path w="297814" h="144145">
                  <a:moveTo>
                    <a:pt x="78581" y="16809"/>
                  </a:moveTo>
                  <a:lnTo>
                    <a:pt x="78576" y="16137"/>
                  </a:lnTo>
                  <a:lnTo>
                    <a:pt x="78781" y="16044"/>
                  </a:lnTo>
                  <a:lnTo>
                    <a:pt x="79222" y="16572"/>
                  </a:lnTo>
                  <a:lnTo>
                    <a:pt x="78581" y="16809"/>
                  </a:lnTo>
                  <a:close/>
                </a:path>
                <a:path w="297814" h="144145">
                  <a:moveTo>
                    <a:pt x="79222" y="16572"/>
                  </a:moveTo>
                  <a:lnTo>
                    <a:pt x="78781" y="16044"/>
                  </a:lnTo>
                  <a:lnTo>
                    <a:pt x="80649" y="16044"/>
                  </a:lnTo>
                  <a:lnTo>
                    <a:pt x="79222" y="16572"/>
                  </a:lnTo>
                  <a:close/>
                </a:path>
                <a:path w="297814" h="144145">
                  <a:moveTo>
                    <a:pt x="79421" y="16809"/>
                  </a:moveTo>
                  <a:lnTo>
                    <a:pt x="78581" y="16809"/>
                  </a:lnTo>
                  <a:lnTo>
                    <a:pt x="79222" y="16572"/>
                  </a:lnTo>
                  <a:lnTo>
                    <a:pt x="79421" y="16809"/>
                  </a:lnTo>
                  <a:close/>
                </a:path>
                <a:path w="297814" h="144145">
                  <a:moveTo>
                    <a:pt x="34188" y="46508"/>
                  </a:moveTo>
                  <a:lnTo>
                    <a:pt x="30642" y="46508"/>
                  </a:lnTo>
                  <a:lnTo>
                    <a:pt x="29186" y="45367"/>
                  </a:lnTo>
                  <a:lnTo>
                    <a:pt x="28373" y="43085"/>
                  </a:lnTo>
                  <a:lnTo>
                    <a:pt x="25887" y="38118"/>
                  </a:lnTo>
                  <a:lnTo>
                    <a:pt x="22079" y="33167"/>
                  </a:lnTo>
                  <a:lnTo>
                    <a:pt x="16947" y="28232"/>
                  </a:lnTo>
                  <a:lnTo>
                    <a:pt x="10492" y="23313"/>
                  </a:lnTo>
                  <a:lnTo>
                    <a:pt x="15619" y="16891"/>
                  </a:lnTo>
                  <a:lnTo>
                    <a:pt x="41225" y="40531"/>
                  </a:lnTo>
                  <a:lnTo>
                    <a:pt x="40307" y="42268"/>
                  </a:lnTo>
                  <a:lnTo>
                    <a:pt x="38471" y="43534"/>
                  </a:lnTo>
                  <a:lnTo>
                    <a:pt x="36098" y="45517"/>
                  </a:lnTo>
                  <a:lnTo>
                    <a:pt x="34188" y="46508"/>
                  </a:lnTo>
                  <a:close/>
                </a:path>
                <a:path w="297814" h="144145">
                  <a:moveTo>
                    <a:pt x="120600" y="20835"/>
                  </a:moveTo>
                  <a:lnTo>
                    <a:pt x="115778" y="20835"/>
                  </a:lnTo>
                  <a:lnTo>
                    <a:pt x="114800" y="20761"/>
                  </a:lnTo>
                  <a:lnTo>
                    <a:pt x="113893" y="20612"/>
                  </a:lnTo>
                  <a:lnTo>
                    <a:pt x="120969" y="20612"/>
                  </a:lnTo>
                  <a:lnTo>
                    <a:pt x="120600" y="20835"/>
                  </a:lnTo>
                  <a:close/>
                </a:path>
                <a:path w="297814" h="144145">
                  <a:moveTo>
                    <a:pt x="123618" y="42267"/>
                  </a:moveTo>
                  <a:lnTo>
                    <a:pt x="106411" y="42267"/>
                  </a:lnTo>
                  <a:lnTo>
                    <a:pt x="111386" y="38048"/>
                  </a:lnTo>
                  <a:lnTo>
                    <a:pt x="116550" y="33167"/>
                  </a:lnTo>
                  <a:lnTo>
                    <a:pt x="121609" y="27928"/>
                  </a:lnTo>
                  <a:lnTo>
                    <a:pt x="126857" y="22026"/>
                  </a:lnTo>
                  <a:lnTo>
                    <a:pt x="135402" y="27061"/>
                  </a:lnTo>
                  <a:lnTo>
                    <a:pt x="139674" y="30880"/>
                  </a:lnTo>
                  <a:lnTo>
                    <a:pt x="139674" y="35668"/>
                  </a:lnTo>
                  <a:lnTo>
                    <a:pt x="138430" y="36462"/>
                  </a:lnTo>
                  <a:lnTo>
                    <a:pt x="131513" y="36462"/>
                  </a:lnTo>
                  <a:lnTo>
                    <a:pt x="126653" y="40396"/>
                  </a:lnTo>
                  <a:lnTo>
                    <a:pt x="123618" y="42267"/>
                  </a:lnTo>
                  <a:close/>
                </a:path>
                <a:path w="297814" h="144145">
                  <a:moveTo>
                    <a:pt x="137475" y="73520"/>
                  </a:moveTo>
                  <a:lnTo>
                    <a:pt x="118297" y="63768"/>
                  </a:lnTo>
                  <a:lnTo>
                    <a:pt x="101211" y="52121"/>
                  </a:lnTo>
                  <a:lnTo>
                    <a:pt x="86219" y="38579"/>
                  </a:lnTo>
                  <a:lnTo>
                    <a:pt x="73319" y="23142"/>
                  </a:lnTo>
                  <a:lnTo>
                    <a:pt x="84856" y="23142"/>
                  </a:lnTo>
                  <a:lnTo>
                    <a:pt x="85981" y="24406"/>
                  </a:lnTo>
                  <a:lnTo>
                    <a:pt x="89647" y="28277"/>
                  </a:lnTo>
                  <a:lnTo>
                    <a:pt x="104851" y="28277"/>
                  </a:lnTo>
                  <a:lnTo>
                    <a:pt x="102500" y="29998"/>
                  </a:lnTo>
                  <a:lnTo>
                    <a:pt x="95547" y="34043"/>
                  </a:lnTo>
                  <a:lnTo>
                    <a:pt x="99282" y="36775"/>
                  </a:lnTo>
                  <a:lnTo>
                    <a:pt x="102903" y="39517"/>
                  </a:lnTo>
                  <a:lnTo>
                    <a:pt x="106411" y="42267"/>
                  </a:lnTo>
                  <a:lnTo>
                    <a:pt x="123618" y="42267"/>
                  </a:lnTo>
                  <a:lnTo>
                    <a:pt x="120642" y="44101"/>
                  </a:lnTo>
                  <a:lnTo>
                    <a:pt x="113481" y="47579"/>
                  </a:lnTo>
                  <a:lnTo>
                    <a:pt x="120362" y="51259"/>
                  </a:lnTo>
                  <a:lnTo>
                    <a:pt x="128200" y="54952"/>
                  </a:lnTo>
                  <a:lnTo>
                    <a:pt x="136993" y="58658"/>
                  </a:lnTo>
                  <a:lnTo>
                    <a:pt x="146744" y="62377"/>
                  </a:lnTo>
                  <a:lnTo>
                    <a:pt x="143709" y="65507"/>
                  </a:lnTo>
                  <a:lnTo>
                    <a:pt x="140591" y="69260"/>
                  </a:lnTo>
                  <a:lnTo>
                    <a:pt x="137475" y="73520"/>
                  </a:lnTo>
                  <a:close/>
                </a:path>
                <a:path w="297814" h="144145">
                  <a:moveTo>
                    <a:pt x="137963" y="36760"/>
                  </a:moveTo>
                  <a:lnTo>
                    <a:pt x="133671" y="36760"/>
                  </a:lnTo>
                  <a:lnTo>
                    <a:pt x="132663" y="36661"/>
                  </a:lnTo>
                  <a:lnTo>
                    <a:pt x="131513" y="36462"/>
                  </a:lnTo>
                  <a:lnTo>
                    <a:pt x="138430" y="36462"/>
                  </a:lnTo>
                  <a:lnTo>
                    <a:pt x="137963" y="36760"/>
                  </a:lnTo>
                  <a:close/>
                </a:path>
                <a:path w="297814" h="144145">
                  <a:moveTo>
                    <a:pt x="103524" y="54396"/>
                  </a:moveTo>
                  <a:lnTo>
                    <a:pt x="88870" y="54396"/>
                  </a:lnTo>
                  <a:lnTo>
                    <a:pt x="95673" y="49634"/>
                  </a:lnTo>
                  <a:lnTo>
                    <a:pt x="99984" y="51938"/>
                  </a:lnTo>
                  <a:lnTo>
                    <a:pt x="103524" y="54396"/>
                  </a:lnTo>
                  <a:close/>
                </a:path>
                <a:path w="297814" h="144145">
                  <a:moveTo>
                    <a:pt x="104895" y="64219"/>
                  </a:moveTo>
                  <a:lnTo>
                    <a:pt x="38310" y="64219"/>
                  </a:lnTo>
                  <a:lnTo>
                    <a:pt x="37116" y="59233"/>
                  </a:lnTo>
                  <a:lnTo>
                    <a:pt x="107691" y="59233"/>
                  </a:lnTo>
                  <a:lnTo>
                    <a:pt x="104895" y="64219"/>
                  </a:lnTo>
                  <a:close/>
                </a:path>
                <a:path w="297814" h="144145">
                  <a:moveTo>
                    <a:pt x="60572" y="85948"/>
                  </a:moveTo>
                  <a:lnTo>
                    <a:pt x="47927" y="85948"/>
                  </a:lnTo>
                  <a:lnTo>
                    <a:pt x="47996" y="64219"/>
                  </a:lnTo>
                  <a:lnTo>
                    <a:pt x="60647" y="64219"/>
                  </a:lnTo>
                  <a:lnTo>
                    <a:pt x="60572" y="85948"/>
                  </a:lnTo>
                  <a:close/>
                </a:path>
                <a:path w="297814" h="144145">
                  <a:moveTo>
                    <a:pt x="92942" y="85948"/>
                  </a:moveTo>
                  <a:lnTo>
                    <a:pt x="80441" y="85948"/>
                  </a:lnTo>
                  <a:lnTo>
                    <a:pt x="80441" y="64219"/>
                  </a:lnTo>
                  <a:lnTo>
                    <a:pt x="92942" y="64219"/>
                  </a:lnTo>
                  <a:lnTo>
                    <a:pt x="92942" y="85948"/>
                  </a:lnTo>
                  <a:close/>
                </a:path>
                <a:path w="297814" h="144145">
                  <a:moveTo>
                    <a:pt x="137394" y="96217"/>
                  </a:moveTo>
                  <a:lnTo>
                    <a:pt x="7053" y="96217"/>
                  </a:lnTo>
                  <a:lnTo>
                    <a:pt x="4539" y="85948"/>
                  </a:lnTo>
                  <a:lnTo>
                    <a:pt x="119532" y="85948"/>
                  </a:lnTo>
                  <a:lnTo>
                    <a:pt x="127710" y="77985"/>
                  </a:lnTo>
                  <a:lnTo>
                    <a:pt x="132763" y="81626"/>
                  </a:lnTo>
                  <a:lnTo>
                    <a:pt x="137123" y="85591"/>
                  </a:lnTo>
                  <a:lnTo>
                    <a:pt x="140791" y="89881"/>
                  </a:lnTo>
                  <a:lnTo>
                    <a:pt x="137394" y="96217"/>
                  </a:lnTo>
                  <a:close/>
                </a:path>
                <a:path w="297814" h="144145">
                  <a:moveTo>
                    <a:pt x="7169" y="143916"/>
                  </a:moveTo>
                  <a:lnTo>
                    <a:pt x="2902" y="135748"/>
                  </a:lnTo>
                  <a:lnTo>
                    <a:pt x="13323" y="132147"/>
                  </a:lnTo>
                  <a:lnTo>
                    <a:pt x="22219" y="128080"/>
                  </a:lnTo>
                  <a:lnTo>
                    <a:pt x="47029" y="96217"/>
                  </a:lnTo>
                  <a:lnTo>
                    <a:pt x="59669" y="96217"/>
                  </a:lnTo>
                  <a:lnTo>
                    <a:pt x="35148" y="132920"/>
                  </a:lnTo>
                  <a:lnTo>
                    <a:pt x="22504" y="139086"/>
                  </a:lnTo>
                  <a:lnTo>
                    <a:pt x="7169" y="143916"/>
                  </a:lnTo>
                  <a:close/>
                </a:path>
                <a:path w="297814" h="144145">
                  <a:moveTo>
                    <a:pt x="108644" y="140195"/>
                  </a:moveTo>
                  <a:lnTo>
                    <a:pt x="97891" y="140195"/>
                  </a:lnTo>
                  <a:lnTo>
                    <a:pt x="91839" y="139873"/>
                  </a:lnTo>
                  <a:lnTo>
                    <a:pt x="90487" y="139228"/>
                  </a:lnTo>
                  <a:lnTo>
                    <a:pt x="85159" y="138158"/>
                  </a:lnTo>
                  <a:lnTo>
                    <a:pt x="82025" y="135916"/>
                  </a:lnTo>
                  <a:lnTo>
                    <a:pt x="80655" y="131006"/>
                  </a:lnTo>
                  <a:lnTo>
                    <a:pt x="80441" y="129031"/>
                  </a:lnTo>
                  <a:lnTo>
                    <a:pt x="80441" y="96217"/>
                  </a:lnTo>
                  <a:lnTo>
                    <a:pt x="92942" y="96217"/>
                  </a:lnTo>
                  <a:lnTo>
                    <a:pt x="93011" y="127843"/>
                  </a:lnTo>
                  <a:lnTo>
                    <a:pt x="95611" y="128239"/>
                  </a:lnTo>
                  <a:lnTo>
                    <a:pt x="99954" y="128438"/>
                  </a:lnTo>
                  <a:lnTo>
                    <a:pt x="142022" y="128438"/>
                  </a:lnTo>
                  <a:lnTo>
                    <a:pt x="141926" y="133108"/>
                  </a:lnTo>
                  <a:lnTo>
                    <a:pt x="118772" y="140079"/>
                  </a:lnTo>
                  <a:lnTo>
                    <a:pt x="108644" y="140195"/>
                  </a:lnTo>
                  <a:close/>
                </a:path>
                <a:path w="297814" h="144145">
                  <a:moveTo>
                    <a:pt x="142022" y="128438"/>
                  </a:moveTo>
                  <a:lnTo>
                    <a:pt x="114394" y="128438"/>
                  </a:lnTo>
                  <a:lnTo>
                    <a:pt x="119466" y="128080"/>
                  </a:lnTo>
                  <a:lnTo>
                    <a:pt x="122591" y="126845"/>
                  </a:lnTo>
                  <a:lnTo>
                    <a:pt x="123611" y="125360"/>
                  </a:lnTo>
                  <a:lnTo>
                    <a:pt x="125732" y="117977"/>
                  </a:lnTo>
                  <a:lnTo>
                    <a:pt x="126707" y="111660"/>
                  </a:lnTo>
                  <a:lnTo>
                    <a:pt x="127239" y="103956"/>
                  </a:lnTo>
                  <a:lnTo>
                    <a:pt x="135954" y="107212"/>
                  </a:lnTo>
                  <a:lnTo>
                    <a:pt x="135805" y="110742"/>
                  </a:lnTo>
                  <a:lnTo>
                    <a:pt x="135730" y="120927"/>
                  </a:lnTo>
                  <a:lnTo>
                    <a:pt x="136145" y="124070"/>
                  </a:lnTo>
                  <a:lnTo>
                    <a:pt x="137527" y="126347"/>
                  </a:lnTo>
                  <a:lnTo>
                    <a:pt x="138451" y="126801"/>
                  </a:lnTo>
                  <a:lnTo>
                    <a:pt x="142056" y="126801"/>
                  </a:lnTo>
                  <a:lnTo>
                    <a:pt x="142022" y="128438"/>
                  </a:lnTo>
                  <a:close/>
                </a:path>
                <a:path w="297814" h="144145">
                  <a:moveTo>
                    <a:pt x="281787" y="92496"/>
                  </a:moveTo>
                  <a:lnTo>
                    <a:pt x="267817" y="92496"/>
                  </a:lnTo>
                  <a:lnTo>
                    <a:pt x="273940" y="86989"/>
                  </a:lnTo>
                  <a:lnTo>
                    <a:pt x="281664" y="92377"/>
                  </a:lnTo>
                  <a:close/>
                </a:path>
                <a:path w="297814" h="144145">
                  <a:moveTo>
                    <a:pt x="218479" y="143395"/>
                  </a:moveTo>
                  <a:lnTo>
                    <a:pt x="205977" y="143395"/>
                  </a:lnTo>
                  <a:lnTo>
                    <a:pt x="205977" y="88998"/>
                  </a:lnTo>
                  <a:lnTo>
                    <a:pt x="210622" y="90158"/>
                  </a:lnTo>
                  <a:lnTo>
                    <a:pt x="214454" y="91324"/>
                  </a:lnTo>
                  <a:lnTo>
                    <a:pt x="217474" y="92496"/>
                  </a:lnTo>
                  <a:lnTo>
                    <a:pt x="281787" y="92496"/>
                  </a:lnTo>
                  <a:lnTo>
                    <a:pt x="285526" y="96122"/>
                  </a:lnTo>
                  <a:lnTo>
                    <a:pt x="285526" y="99556"/>
                  </a:lnTo>
                  <a:lnTo>
                    <a:pt x="284760" y="100778"/>
                  </a:lnTo>
                  <a:lnTo>
                    <a:pt x="282041" y="102765"/>
                  </a:lnTo>
                  <a:lnTo>
                    <a:pt x="218479" y="102765"/>
                  </a:lnTo>
                  <a:lnTo>
                    <a:pt x="218479" y="125164"/>
                  </a:lnTo>
                  <a:lnTo>
                    <a:pt x="280540" y="125164"/>
                  </a:lnTo>
                  <a:lnTo>
                    <a:pt x="280540" y="135284"/>
                  </a:lnTo>
                  <a:lnTo>
                    <a:pt x="218479" y="135284"/>
                  </a:lnTo>
                  <a:lnTo>
                    <a:pt x="218479" y="143395"/>
                  </a:lnTo>
                  <a:close/>
                </a:path>
                <a:path w="297814" h="144145">
                  <a:moveTo>
                    <a:pt x="280540" y="125164"/>
                  </a:moveTo>
                  <a:lnTo>
                    <a:pt x="268038" y="125164"/>
                  </a:lnTo>
                  <a:lnTo>
                    <a:pt x="268038" y="102765"/>
                  </a:lnTo>
                  <a:lnTo>
                    <a:pt x="282041" y="102765"/>
                  </a:lnTo>
                  <a:lnTo>
                    <a:pt x="280540" y="103863"/>
                  </a:lnTo>
                  <a:lnTo>
                    <a:pt x="280540" y="125164"/>
                  </a:lnTo>
                  <a:close/>
                </a:path>
                <a:path w="297814" h="144145">
                  <a:moveTo>
                    <a:pt x="280540" y="143395"/>
                  </a:moveTo>
                  <a:lnTo>
                    <a:pt x="268038" y="143395"/>
                  </a:lnTo>
                  <a:lnTo>
                    <a:pt x="268038" y="135284"/>
                  </a:lnTo>
                  <a:lnTo>
                    <a:pt x="280540" y="135284"/>
                  </a:lnTo>
                  <a:lnTo>
                    <a:pt x="280540" y="143395"/>
                  </a:lnTo>
                  <a:close/>
                </a:path>
                <a:path w="297814" h="144145">
                  <a:moveTo>
                    <a:pt x="157399" y="88626"/>
                  </a:moveTo>
                  <a:lnTo>
                    <a:pt x="151134" y="83449"/>
                  </a:lnTo>
                  <a:lnTo>
                    <a:pt x="161603" y="66055"/>
                  </a:lnTo>
                  <a:lnTo>
                    <a:pt x="170820" y="46349"/>
                  </a:lnTo>
                  <a:lnTo>
                    <a:pt x="178786" y="24330"/>
                  </a:lnTo>
                  <a:lnTo>
                    <a:pt x="185502" y="0"/>
                  </a:lnTo>
                  <a:lnTo>
                    <a:pt x="196920" y="2240"/>
                  </a:lnTo>
                  <a:lnTo>
                    <a:pt x="202628" y="4919"/>
                  </a:lnTo>
                  <a:lnTo>
                    <a:pt x="202628" y="10279"/>
                  </a:lnTo>
                  <a:lnTo>
                    <a:pt x="200339" y="11868"/>
                  </a:lnTo>
                  <a:lnTo>
                    <a:pt x="195761" y="12805"/>
                  </a:lnTo>
                  <a:lnTo>
                    <a:pt x="192832" y="22069"/>
                  </a:lnTo>
                  <a:lnTo>
                    <a:pt x="189750" y="30599"/>
                  </a:lnTo>
                  <a:lnTo>
                    <a:pt x="186517" y="38392"/>
                  </a:lnTo>
                  <a:lnTo>
                    <a:pt x="183132" y="45450"/>
                  </a:lnTo>
                  <a:lnTo>
                    <a:pt x="188540" y="46456"/>
                  </a:lnTo>
                  <a:lnTo>
                    <a:pt x="191243" y="48149"/>
                  </a:lnTo>
                  <a:lnTo>
                    <a:pt x="191243" y="52537"/>
                  </a:lnTo>
                  <a:lnTo>
                    <a:pt x="189259" y="54311"/>
                  </a:lnTo>
                  <a:lnTo>
                    <a:pt x="185290" y="55849"/>
                  </a:lnTo>
                  <a:lnTo>
                    <a:pt x="185290" y="62582"/>
                  </a:lnTo>
                  <a:lnTo>
                    <a:pt x="172789" y="62582"/>
                  </a:lnTo>
                  <a:lnTo>
                    <a:pt x="169980" y="69196"/>
                  </a:lnTo>
                  <a:lnTo>
                    <a:pt x="166478" y="75741"/>
                  </a:lnTo>
                  <a:lnTo>
                    <a:pt x="162285" y="82218"/>
                  </a:lnTo>
                  <a:lnTo>
                    <a:pt x="157399" y="88626"/>
                  </a:lnTo>
                  <a:close/>
                </a:path>
                <a:path w="297814" h="144145">
                  <a:moveTo>
                    <a:pt x="277094" y="21356"/>
                  </a:moveTo>
                  <a:lnTo>
                    <a:pt x="211517" y="21356"/>
                  </a:lnTo>
                  <a:lnTo>
                    <a:pt x="209326" y="11236"/>
                  </a:lnTo>
                  <a:lnTo>
                    <a:pt x="259146" y="11236"/>
                  </a:lnTo>
                  <a:lnTo>
                    <a:pt x="266914" y="3497"/>
                  </a:lnTo>
                  <a:lnTo>
                    <a:pt x="271399" y="6494"/>
                  </a:lnTo>
                  <a:lnTo>
                    <a:pt x="275749" y="10279"/>
                  </a:lnTo>
                  <a:lnTo>
                    <a:pt x="279870" y="14749"/>
                  </a:lnTo>
                  <a:lnTo>
                    <a:pt x="277094" y="21356"/>
                  </a:lnTo>
                  <a:close/>
                </a:path>
                <a:path w="297814" h="144145">
                  <a:moveTo>
                    <a:pt x="294703" y="41522"/>
                  </a:moveTo>
                  <a:lnTo>
                    <a:pt x="194373" y="41522"/>
                  </a:lnTo>
                  <a:lnTo>
                    <a:pt x="192285" y="31402"/>
                  </a:lnTo>
                  <a:lnTo>
                    <a:pt x="275738" y="31402"/>
                  </a:lnTo>
                  <a:lnTo>
                    <a:pt x="284130" y="22993"/>
                  </a:lnTo>
                  <a:lnTo>
                    <a:pt x="289381" y="26823"/>
                  </a:lnTo>
                  <a:lnTo>
                    <a:pt x="293865" y="30859"/>
                  </a:lnTo>
                  <a:lnTo>
                    <a:pt x="297581" y="35102"/>
                  </a:lnTo>
                  <a:lnTo>
                    <a:pt x="294703" y="41522"/>
                  </a:lnTo>
                  <a:close/>
                </a:path>
                <a:path w="297814" h="144145">
                  <a:moveTo>
                    <a:pt x="279905" y="61614"/>
                  </a:moveTo>
                  <a:lnTo>
                    <a:pt x="208616" y="61614"/>
                  </a:lnTo>
                  <a:lnTo>
                    <a:pt x="206424" y="51494"/>
                  </a:lnTo>
                  <a:lnTo>
                    <a:pt x="262368" y="51494"/>
                  </a:lnTo>
                  <a:lnTo>
                    <a:pt x="270288" y="44350"/>
                  </a:lnTo>
                  <a:lnTo>
                    <a:pt x="274836" y="47394"/>
                  </a:lnTo>
                  <a:lnTo>
                    <a:pt x="279097" y="51066"/>
                  </a:lnTo>
                  <a:lnTo>
                    <a:pt x="283070" y="55367"/>
                  </a:lnTo>
                  <a:lnTo>
                    <a:pt x="279905" y="61614"/>
                  </a:lnTo>
                  <a:close/>
                </a:path>
                <a:path w="297814" h="144145">
                  <a:moveTo>
                    <a:pt x="185290" y="143321"/>
                  </a:moveTo>
                  <a:lnTo>
                    <a:pt x="172789" y="143321"/>
                  </a:lnTo>
                  <a:lnTo>
                    <a:pt x="172789" y="62582"/>
                  </a:lnTo>
                  <a:lnTo>
                    <a:pt x="185290" y="62582"/>
                  </a:lnTo>
                  <a:lnTo>
                    <a:pt x="185290" y="143321"/>
                  </a:lnTo>
                  <a:close/>
                </a:path>
                <a:path w="297814" h="144145">
                  <a:moveTo>
                    <a:pt x="279746" y="81706"/>
                  </a:moveTo>
                  <a:lnTo>
                    <a:pt x="208258" y="81706"/>
                  </a:lnTo>
                  <a:lnTo>
                    <a:pt x="206424" y="71437"/>
                  </a:lnTo>
                  <a:lnTo>
                    <a:pt x="262532" y="71437"/>
                  </a:lnTo>
                  <a:lnTo>
                    <a:pt x="270454" y="64144"/>
                  </a:lnTo>
                  <a:lnTo>
                    <a:pt x="274468" y="66811"/>
                  </a:lnTo>
                  <a:lnTo>
                    <a:pt x="278673" y="70597"/>
                  </a:lnTo>
                  <a:lnTo>
                    <a:pt x="283070" y="75503"/>
                  </a:lnTo>
                  <a:lnTo>
                    <a:pt x="279746" y="81706"/>
                  </a:lnTo>
                  <a:close/>
                </a:path>
              </a:pathLst>
            </a:custGeom>
            <a:solidFill>
              <a:srgbClr val="FFFFFF"/>
            </a:solidFill>
          </p:spPr>
          <p:txBody>
            <a:bodyPr wrap="square" lIns="0" tIns="0" rIns="0" bIns="0" rtlCol="0"/>
            <a:lstStyle/>
            <a:p>
              <a:endParaRPr/>
            </a:p>
          </p:txBody>
        </p:sp>
        <p:sp>
          <p:nvSpPr>
            <p:cNvPr id="90" name="object 24">
              <a:extLst>
                <a:ext uri="{FF2B5EF4-FFF2-40B4-BE49-F238E27FC236}">
                  <a16:creationId xmlns:a16="http://schemas.microsoft.com/office/drawing/2014/main" id="{E17F2113-A923-4380-BCC0-835BA102BC60}"/>
                </a:ext>
              </a:extLst>
            </p:cNvPr>
            <p:cNvSpPr/>
            <p:nvPr/>
          </p:nvSpPr>
          <p:spPr>
            <a:xfrm>
              <a:off x="6541790" y="3462930"/>
              <a:ext cx="678661" cy="132143"/>
            </a:xfrm>
            <a:prstGeom prst="rect">
              <a:avLst/>
            </a:prstGeom>
            <a:blipFill>
              <a:blip r:embed="rId8" cstate="print"/>
              <a:stretch>
                <a:fillRect/>
              </a:stretch>
            </a:blipFill>
          </p:spPr>
          <p:txBody>
            <a:bodyPr wrap="square" lIns="0" tIns="0" rIns="0" bIns="0" rtlCol="0"/>
            <a:lstStyle/>
            <a:p>
              <a:endParaRPr/>
            </a:p>
          </p:txBody>
        </p:sp>
        <p:sp>
          <p:nvSpPr>
            <p:cNvPr id="64" name="正方形/長方形 63"/>
            <p:cNvSpPr>
              <a:spLocks noChangeAspect="1"/>
            </p:cNvSpPr>
            <p:nvPr/>
          </p:nvSpPr>
          <p:spPr>
            <a:xfrm>
              <a:off x="6712910" y="4992016"/>
              <a:ext cx="432000" cy="432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p:cNvGrpSpPr/>
            <p:nvPr/>
          </p:nvGrpSpPr>
          <p:grpSpPr>
            <a:xfrm>
              <a:off x="6570792" y="4837553"/>
              <a:ext cx="296586" cy="293005"/>
              <a:chOff x="4232441" y="3995693"/>
              <a:chExt cx="296586" cy="293005"/>
            </a:xfrm>
          </p:grpSpPr>
          <p:sp>
            <p:nvSpPr>
              <p:cNvPr id="40" name="円/楕円 3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42" name="図形グループ 41"/>
          <p:cNvGrpSpPr/>
          <p:nvPr/>
        </p:nvGrpSpPr>
        <p:grpSpPr>
          <a:xfrm>
            <a:off x="3699350" y="4977664"/>
            <a:ext cx="296586" cy="293005"/>
            <a:chOff x="3546641" y="3995693"/>
            <a:chExt cx="296586" cy="293005"/>
          </a:xfrm>
        </p:grpSpPr>
        <p:sp>
          <p:nvSpPr>
            <p:cNvPr id="43" name="円/楕円 4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836462" y="3702727"/>
            <a:ext cx="296587" cy="293005"/>
            <a:chOff x="2897417" y="3995693"/>
            <a:chExt cx="296587" cy="293005"/>
          </a:xfrm>
        </p:grpSpPr>
        <p:sp>
          <p:nvSpPr>
            <p:cNvPr id="52" name="円/楕円 5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 name="矢印: 右 2">
            <a:extLst>
              <a:ext uri="{FF2B5EF4-FFF2-40B4-BE49-F238E27FC236}">
                <a16:creationId xmlns:a16="http://schemas.microsoft.com/office/drawing/2014/main" id="{B52D1DDB-69A3-8BFE-ABB0-57242C7BAC13}"/>
              </a:ext>
            </a:extLst>
          </p:cNvPr>
          <p:cNvSpPr/>
          <p:nvPr/>
        </p:nvSpPr>
        <p:spPr>
          <a:xfrm>
            <a:off x="4125425" y="4728725"/>
            <a:ext cx="89315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Picture 2">
            <a:extLst>
              <a:ext uri="{FF2B5EF4-FFF2-40B4-BE49-F238E27FC236}">
                <a16:creationId xmlns:a16="http://schemas.microsoft.com/office/drawing/2014/main" id="{8166F251-118D-99D3-4069-DC50E34B74E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6341" t="4416" b="89669"/>
          <a:stretch/>
        </p:blipFill>
        <p:spPr bwMode="auto">
          <a:xfrm>
            <a:off x="2825820" y="2936435"/>
            <a:ext cx="239229" cy="214988"/>
          </a:xfrm>
          <a:prstGeom prst="rect">
            <a:avLst/>
          </a:prstGeom>
          <a:solidFill>
            <a:schemeClr val="bg1"/>
          </a:solidFill>
          <a:ln>
            <a:solidFill>
              <a:schemeClr val="tx1">
                <a:lumMod val="65000"/>
                <a:lumOff val="35000"/>
              </a:schemeClr>
            </a:solidFill>
          </a:ln>
        </p:spPr>
      </p:pic>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履歴一覧画面の画像">
            <a:extLst>
              <a:ext uri="{FF2B5EF4-FFF2-40B4-BE49-F238E27FC236}">
                <a16:creationId xmlns:a16="http://schemas.microsoft.com/office/drawing/2014/main" id="{20C4A382-9422-4A87-A2BA-4B343032BC9C}"/>
              </a:ext>
            </a:extLst>
          </p:cNvPr>
          <p:cNvPicPr>
            <a:picLocks noChangeAspect="1"/>
          </p:cNvPicPr>
          <p:nvPr/>
        </p:nvPicPr>
        <p:blipFill>
          <a:blip r:embed="rId4"/>
          <a:stretch>
            <a:fillRect/>
          </a:stretch>
        </p:blipFill>
        <p:spPr>
          <a:xfrm>
            <a:off x="3970714" y="3123849"/>
            <a:ext cx="2160000" cy="2688734"/>
          </a:xfrm>
          <a:prstGeom prst="rect">
            <a:avLst/>
          </a:prstGeom>
          <a:ln w="9525">
            <a:solidFill>
              <a:schemeClr val="tx1">
                <a:lumMod val="50000"/>
                <a:lumOff val="50000"/>
              </a:schemeClr>
            </a:solidFill>
          </a:ln>
        </p:spPr>
      </p:pic>
      <p:pic>
        <p:nvPicPr>
          <p:cNvPr id="30" name="図 29" descr="Chrome画面の上部の画像">
            <a:extLst>
              <a:ext uri="{FF2B5EF4-FFF2-40B4-BE49-F238E27FC236}">
                <a16:creationId xmlns:a16="http://schemas.microsoft.com/office/drawing/2014/main" id="{50CF6C3A-5916-4AFD-9E5F-BCAF9305E4D9}"/>
              </a:ext>
            </a:extLst>
          </p:cNvPr>
          <p:cNvPicPr>
            <a:picLocks noChangeAspect="1"/>
          </p:cNvPicPr>
          <p:nvPr/>
        </p:nvPicPr>
        <p:blipFill>
          <a:blip r:embed="rId5"/>
          <a:stretch>
            <a:fillRect/>
          </a:stretch>
        </p:blipFill>
        <p:spPr>
          <a:xfrm>
            <a:off x="982002" y="3124161"/>
            <a:ext cx="2160000" cy="2430376"/>
          </a:xfrm>
          <a:prstGeom prst="rect">
            <a:avLst/>
          </a:prstGeom>
          <a:ln w="9525">
            <a:solidFill>
              <a:schemeClr val="tx1">
                <a:lumMod val="50000"/>
                <a:lumOff val="50000"/>
              </a:schemeClr>
            </a:solidFill>
          </a:ln>
        </p:spPr>
      </p:pic>
      <p:pic>
        <p:nvPicPr>
          <p:cNvPr id="31" name="図 30" descr="画面の右側に表示された「その他」メニュー画面の画像">
            <a:extLst>
              <a:ext uri="{FF2B5EF4-FFF2-40B4-BE49-F238E27FC236}">
                <a16:creationId xmlns:a16="http://schemas.microsoft.com/office/drawing/2014/main" id="{B4039101-70CA-4CE6-8F0D-D736C1697873}"/>
              </a:ext>
            </a:extLst>
          </p:cNvPr>
          <p:cNvPicPr>
            <a:picLocks noChangeAspect="1"/>
          </p:cNvPicPr>
          <p:nvPr/>
        </p:nvPicPr>
        <p:blipFill>
          <a:blip r:embed="rId6"/>
          <a:stretch>
            <a:fillRect/>
          </a:stretch>
        </p:blipFill>
        <p:spPr>
          <a:xfrm>
            <a:off x="1098522" y="4339349"/>
            <a:ext cx="2160000" cy="1564556"/>
          </a:xfrm>
          <a:prstGeom prst="rect">
            <a:avLst/>
          </a:prstGeom>
          <a:ln w="9525">
            <a:solidFill>
              <a:schemeClr val="tx1">
                <a:lumMod val="50000"/>
                <a:lumOff val="50000"/>
              </a:schemeClr>
            </a:solidFill>
          </a:ln>
        </p:spPr>
      </p:pic>
      <p:pic>
        <p:nvPicPr>
          <p:cNvPr id="32" name="図 31" descr="見たいインターネットのページの画像">
            <a:extLst>
              <a:ext uri="{FF2B5EF4-FFF2-40B4-BE49-F238E27FC236}">
                <a16:creationId xmlns:a16="http://schemas.microsoft.com/office/drawing/2014/main" id="{101F24D7-6782-4C02-87C4-1F8B9124B4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33177" y="3106914"/>
            <a:ext cx="1506520" cy="2705669"/>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0" name="object 24">
            <a:extLst>
              <a:ext uri="{FF2B5EF4-FFF2-40B4-BE49-F238E27FC236}">
                <a16:creationId xmlns:a16="http://schemas.microsoft.com/office/drawing/2014/main" id="{E17F2113-A923-4380-BCC0-835BA102BC60}"/>
              </a:ext>
            </a:extLst>
          </p:cNvPr>
          <p:cNvSpPr/>
          <p:nvPr/>
        </p:nvSpPr>
        <p:spPr>
          <a:xfrm>
            <a:off x="6541790" y="3462930"/>
            <a:ext cx="678661" cy="132143"/>
          </a:xfrm>
          <a:prstGeom prst="rect">
            <a:avLst/>
          </a:prstGeom>
          <a:blipFill>
            <a:blip r:embed="rId10" cstate="print"/>
            <a:stretch>
              <a:fillRect/>
            </a:stretch>
          </a:blipFill>
        </p:spPr>
        <p:txBody>
          <a:bodyPr wrap="square" lIns="0" tIns="0" rIns="0" bIns="0" rtlCol="0"/>
          <a:lstStyle/>
          <a:p>
            <a:endParaRP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9408"/>
            <a:ext cx="8384676" cy="360000"/>
          </a:xfrm>
        </p:spPr>
        <p:txBody>
          <a:bodyPr vert="horz" lIns="91440" tIns="45720" rIns="91440" bIns="45720" rtlCol="0" anchor="t">
            <a:noAutofit/>
          </a:bodyPr>
          <a:lstStyle/>
          <a:p>
            <a:r>
              <a:rPr lang="ja-JP" altLang="en-US">
                <a:latin typeface="AoyagiKouzanFontT"/>
                <a:ea typeface="Meiryo"/>
                <a:cs typeface="AoyagiKouzanFontT"/>
              </a:rPr>
              <a:t>過去に見たページの履歴から</a:t>
            </a:r>
            <a:r>
              <a:rPr lang="ja-JP" altLang="en-US" spc="-25">
                <a:latin typeface="AoyagiKouzanFontT"/>
                <a:ea typeface="Meiryo"/>
                <a:cs typeface="AoyagiKouzanFontT"/>
              </a:rPr>
              <a:t>ぺ</a:t>
            </a:r>
            <a:r>
              <a:rPr lang="ja-JP" altLang="en-US" spc="-39">
                <a:latin typeface="AoyagiKouzanFontT"/>
                <a:ea typeface="Meiryo"/>
                <a:cs typeface="AoyagiKouzanFontT"/>
              </a:rPr>
              <a:t>ー</a:t>
            </a:r>
            <a:r>
              <a:rPr lang="ja-JP" altLang="en-US" spc="-4">
                <a:latin typeface="AoyagiKouzanFontT"/>
                <a:ea typeface="Meiryo"/>
                <a:cs typeface="AoyagiKouzanFontT"/>
              </a:rPr>
              <a:t>ジを</a:t>
            </a:r>
            <a:r>
              <a:rPr lang="ja-JP" altLang="en-US" spc="7">
                <a:latin typeface="AoyagiKouzanFontT"/>
                <a:ea typeface="Meiryo"/>
                <a:cs typeface="AoyagiKouzanFontT"/>
              </a:rPr>
              <a:t>開</a:t>
            </a:r>
            <a:r>
              <a:rPr lang="ja-JP" altLang="en-US" spc="-14">
                <a:latin typeface="AoyagiKouzanFontT"/>
                <a:ea typeface="Meiryo"/>
                <a:cs typeface="AoyagiKouzanFontT"/>
              </a:rPr>
              <a:t>く方法。</a:t>
            </a:r>
            <a:endParaRPr lang="ja-JP" altLang="en-US">
              <a:ea typeface="Meiryo"/>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979282" y="1939064"/>
            <a:ext cx="423406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履歴にあるページを押すと</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過去に見たページを見ることができま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38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649546" y="18638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930658" y="1978031"/>
            <a:ext cx="2709917"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画面</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右</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上</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の</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３つの点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ボタン「　　」</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806316" y="2666536"/>
            <a:ext cx="2709917"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履歴</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6A013054-7987-46D2-89A9-B09248912486}"/>
              </a:ext>
            </a:extLst>
          </p:cNvPr>
          <p:cNvSpPr txBox="1"/>
          <p:nvPr/>
        </p:nvSpPr>
        <p:spPr>
          <a:xfrm>
            <a:off x="431444" y="253907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4" name="タイトル 1"/>
          <p:cNvSpPr>
            <a:spLocks noGrp="1" noChangeAspect="1"/>
          </p:cNvSpPr>
          <p:nvPr>
            <p:ph type="ctrTitle"/>
          </p:nvPr>
        </p:nvSpPr>
        <p:spPr>
          <a:xfrm>
            <a:off x="1770127" y="212583"/>
            <a:ext cx="4288353"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kern="0" dirty="0"/>
            </a:br>
            <a:r>
              <a:rPr kumimoji="0" lang="ja-JP" altLang="en-US" kern="0" dirty="0"/>
              <a:t>履歴からページを開く</a:t>
            </a:r>
          </a:p>
        </p:txBody>
      </p:sp>
      <p:sp>
        <p:nvSpPr>
          <p:cNvPr id="37" name="正方形/長方形 36"/>
          <p:cNvSpPr>
            <a:spLocks noChangeAspect="1"/>
          </p:cNvSpPr>
          <p:nvPr/>
        </p:nvSpPr>
        <p:spPr>
          <a:xfrm>
            <a:off x="2795831" y="3277308"/>
            <a:ext cx="351432" cy="351432"/>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p:cNvSpPr/>
          <p:nvPr/>
        </p:nvSpPr>
        <p:spPr>
          <a:xfrm>
            <a:off x="3979282" y="4709606"/>
            <a:ext cx="2151432"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1670071" y="5403123"/>
            <a:ext cx="900000" cy="35955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41"/>
          <p:cNvGrpSpPr/>
          <p:nvPr/>
        </p:nvGrpSpPr>
        <p:grpSpPr>
          <a:xfrm>
            <a:off x="3851920" y="450912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1489437" y="5204802"/>
            <a:ext cx="296586" cy="293005"/>
            <a:chOff x="3546641" y="3995693"/>
            <a:chExt cx="296586" cy="293005"/>
          </a:xfrm>
        </p:grpSpPr>
        <p:sp>
          <p:nvSpPr>
            <p:cNvPr id="56" name="円/楕円 5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2619229" y="3068960"/>
            <a:ext cx="296587" cy="293005"/>
            <a:chOff x="2897417" y="3995693"/>
            <a:chExt cx="296587" cy="293005"/>
          </a:xfrm>
        </p:grpSpPr>
        <p:sp>
          <p:nvSpPr>
            <p:cNvPr id="60" name="円/楕円 5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テキスト ボックス 6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 name="矢印: 右 2">
            <a:extLst>
              <a:ext uri="{FF2B5EF4-FFF2-40B4-BE49-F238E27FC236}">
                <a16:creationId xmlns:a16="http://schemas.microsoft.com/office/drawing/2014/main" id="{74E092A3-9E75-9969-362C-78CC9BF23FAA}"/>
              </a:ext>
            </a:extLst>
          </p:cNvPr>
          <p:cNvSpPr/>
          <p:nvPr/>
        </p:nvSpPr>
        <p:spPr>
          <a:xfrm>
            <a:off x="6203550" y="4669473"/>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 name="矢印: 右 4">
            <a:extLst>
              <a:ext uri="{FF2B5EF4-FFF2-40B4-BE49-F238E27FC236}">
                <a16:creationId xmlns:a16="http://schemas.microsoft.com/office/drawing/2014/main" id="{F635C9CD-9D6D-3522-0D09-45DD817BC9EF}"/>
              </a:ext>
            </a:extLst>
          </p:cNvPr>
          <p:cNvSpPr/>
          <p:nvPr/>
        </p:nvSpPr>
        <p:spPr>
          <a:xfrm>
            <a:off x="3354290"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矢印: 右 5">
            <a:extLst>
              <a:ext uri="{FF2B5EF4-FFF2-40B4-BE49-F238E27FC236}">
                <a16:creationId xmlns:a16="http://schemas.microsoft.com/office/drawing/2014/main" id="{76E03D83-8E5A-8438-5758-55C08B9FB274}"/>
              </a:ext>
            </a:extLst>
          </p:cNvPr>
          <p:cNvSpPr/>
          <p:nvPr/>
        </p:nvSpPr>
        <p:spPr>
          <a:xfrm rot="5400000">
            <a:off x="2693222" y="377019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7" name="Picture 2">
            <a:extLst>
              <a:ext uri="{FF2B5EF4-FFF2-40B4-BE49-F238E27FC236}">
                <a16:creationId xmlns:a16="http://schemas.microsoft.com/office/drawing/2014/main" id="{00E552BF-9C5F-9BEA-D112-B563C4922BD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86341" t="4416" b="89669"/>
          <a:stretch/>
        </p:blipFill>
        <p:spPr bwMode="auto">
          <a:xfrm>
            <a:off x="1926754" y="2249333"/>
            <a:ext cx="239229" cy="214988"/>
          </a:xfrm>
          <a:prstGeom prst="rect">
            <a:avLst/>
          </a:prstGeom>
          <a:solidFill>
            <a:schemeClr val="bg1"/>
          </a:solidFill>
          <a:ln>
            <a:solidFill>
              <a:schemeClr val="tx1">
                <a:lumMod val="65000"/>
                <a:lumOff val="35000"/>
              </a:schemeClr>
            </a:solidFill>
          </a:ln>
        </p:spPr>
      </p:pic>
    </p:spTree>
    <p:extLst>
      <p:ext uri="{BB962C8B-B14F-4D97-AF65-F5344CB8AC3E}">
        <p14:creationId xmlns:p14="http://schemas.microsoft.com/office/powerpoint/2010/main" val="1194195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悪意あるインターネットサイトが画面に表示されたパソコン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28" y="4914273"/>
            <a:ext cx="1245154" cy="1188000"/>
          </a:xfrm>
          <a:prstGeom prst="rect">
            <a:avLst/>
          </a:prstGeom>
        </p:spPr>
      </p:pic>
      <p:sp>
        <p:nvSpPr>
          <p:cNvPr id="2" name="タイトル 1"/>
          <p:cNvSpPr>
            <a:spLocks noGrp="1"/>
          </p:cNvSpPr>
          <p:nvPr>
            <p:ph type="ctrTitle"/>
          </p:nvPr>
        </p:nvSpPr>
        <p:spPr>
          <a:xfrm>
            <a:off x="1767718" y="521210"/>
            <a:ext cx="6340197" cy="547842"/>
          </a:xfrm>
        </p:spPr>
        <p:txBody>
          <a:bodyPr wrap="none">
            <a:spAutoFit/>
          </a:bodyPr>
          <a:lstStyle/>
          <a:p>
            <a:r>
              <a:rPr kumimoji="0" lang="ja-JP" altLang="en-US" kern="0" dirty="0"/>
              <a:t>インターネットを使う時の注意点</a:t>
            </a:r>
          </a:p>
        </p:txBody>
      </p:sp>
      <p:sp>
        <p:nvSpPr>
          <p:cNvPr id="3" name="サブタイトル 2"/>
          <p:cNvSpPr>
            <a:spLocks noGrp="1"/>
          </p:cNvSpPr>
          <p:nvPr>
            <p:ph type="subTitle" idx="1"/>
          </p:nvPr>
        </p:nvSpPr>
        <p:spPr>
          <a:xfrm>
            <a:off x="1747912" y="1484784"/>
            <a:ext cx="6935162" cy="5008917"/>
          </a:xfrm>
        </p:spPr>
        <p:txBody>
          <a:bodyPr numCol="1">
            <a:noAutofit/>
          </a:bodyPr>
          <a:lstStyle/>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インターネットには、</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さまざまなサイトが存在します。</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その中には、悪意を持って設置された</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pPr>
            <a:r>
              <a:rPr lang="ja-JP" altLang="en-US" sz="2200" dirty="0">
                <a:solidFill>
                  <a:srgbClr val="009650"/>
                </a:solidFill>
                <a:latin typeface="メイリオ" panose="020B0604030504040204" pitchFamily="50" charset="-128"/>
                <a:ea typeface="メイリオ" panose="020B0604030504040204" pitchFamily="50" charset="-128"/>
              </a:rPr>
              <a:t>詐欺やウイルス配布を行うサイトもあります。</a:t>
            </a:r>
            <a:endParaRPr lang="en-US" altLang="ja-JP" sz="2200" dirty="0">
              <a:solidFill>
                <a:srgbClr val="009650"/>
              </a:solidFill>
              <a:latin typeface="メイリオ" panose="020B0604030504040204" pitchFamily="50" charset="-128"/>
              <a:ea typeface="メイリオ" panose="020B0604030504040204" pitchFamily="50" charset="-128"/>
            </a:endParaRPr>
          </a:p>
          <a:p>
            <a:pPr>
              <a:lnSpc>
                <a:spcPct val="75000"/>
              </a:lnSpc>
              <a:buClr>
                <a:srgbClr val="FF3399"/>
              </a:buClr>
            </a:pPr>
            <a:endParaRPr lang="en-US" altLang="ja-JP" sz="14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メール内に書かれた</a:t>
            </a:r>
            <a:r>
              <a:rPr lang="en-US" altLang="ja-JP" sz="1800" dirty="0">
                <a:latin typeface="メイリオ" panose="020B0604030504040204" pitchFamily="50" charset="-128"/>
                <a:ea typeface="メイリオ" panose="020B0604030504040204" pitchFamily="50" charset="-128"/>
              </a:rPr>
              <a:t>URL</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ここを選択してください</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ど書かれた</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ところを選択すると、偽のサイトに接続され、</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そこで、ユーザ</a:t>
            </a:r>
            <a:r>
              <a:rPr lang="en-US" altLang="ja-JP" sz="1800" dirty="0">
                <a:latin typeface="メイリオ" panose="020B0604030504040204" pitchFamily="50" charset="-128"/>
                <a:ea typeface="メイリオ" panose="020B0604030504040204" pitchFamily="50" charset="-128"/>
              </a:rPr>
              <a:t>ID</a:t>
            </a:r>
            <a:r>
              <a:rPr lang="ja-JP" altLang="en-US" sz="1800" dirty="0">
                <a:latin typeface="メイリオ" panose="020B0604030504040204" pitchFamily="50" charset="-128"/>
                <a:ea typeface="メイリオ" panose="020B0604030504040204" pitchFamily="50" charset="-128"/>
              </a:rPr>
              <a:t>やパスワード</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またクレジットカードなどの情報を入力させ、</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これらの情報を盗み取ろうとするメールもあります。</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600"/>
              </a:spcBef>
              <a:buClr>
                <a:srgbClr val="FF3399"/>
              </a:buClr>
            </a:pPr>
            <a:r>
              <a:rPr lang="ja-JP" altLang="en-US" sz="1800" dirty="0">
                <a:latin typeface="メイリオ" panose="020B0604030504040204" pitchFamily="50" charset="-128"/>
                <a:ea typeface="メイリオ" panose="020B0604030504040204" pitchFamily="50" charset="-128"/>
              </a:rPr>
              <a:t>これらのメールをフィッシングメールと呼びます。</a:t>
            </a:r>
            <a:endParaRPr lang="en-US" altLang="ja-JP" sz="1800" dirty="0">
              <a:latin typeface="メイリオ" panose="020B0604030504040204" pitchFamily="50" charset="-128"/>
              <a:ea typeface="メイリオ" panose="020B0604030504040204" pitchFamily="50"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Tree>
    <p:extLst>
      <p:ext uri="{BB962C8B-B14F-4D97-AF65-F5344CB8AC3E}">
        <p14:creationId xmlns:p14="http://schemas.microsoft.com/office/powerpoint/2010/main" val="729328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悪意あるインターネットサイトが画面に表示されたパソコン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628" y="4914273"/>
            <a:ext cx="1245154" cy="1188000"/>
          </a:xfrm>
          <a:prstGeom prst="rect">
            <a:avLst/>
          </a:prstGeom>
        </p:spPr>
      </p:pic>
      <p:sp>
        <p:nvSpPr>
          <p:cNvPr id="2" name="タイトル 1"/>
          <p:cNvSpPr>
            <a:spLocks noGrp="1"/>
          </p:cNvSpPr>
          <p:nvPr>
            <p:ph type="ctrTitle"/>
          </p:nvPr>
        </p:nvSpPr>
        <p:spPr>
          <a:xfrm>
            <a:off x="1767718" y="521210"/>
            <a:ext cx="6340197" cy="547842"/>
          </a:xfrm>
        </p:spPr>
        <p:txBody>
          <a:bodyPr wrap="none">
            <a:spAutoFit/>
          </a:bodyPr>
          <a:lstStyle/>
          <a:p>
            <a:r>
              <a:rPr kumimoji="0" lang="ja-JP" altLang="en-US" kern="0" dirty="0"/>
              <a:t>インターネットを使う時の注意点</a:t>
            </a:r>
          </a:p>
        </p:txBody>
      </p:sp>
      <p:sp>
        <p:nvSpPr>
          <p:cNvPr id="3" name="サブタイトル 2"/>
          <p:cNvSpPr>
            <a:spLocks noGrp="1"/>
          </p:cNvSpPr>
          <p:nvPr>
            <p:ph type="subTitle" idx="1"/>
          </p:nvPr>
        </p:nvSpPr>
        <p:spPr>
          <a:xfrm>
            <a:off x="1767718" y="1637777"/>
            <a:ext cx="7200000" cy="4464496"/>
          </a:xfrm>
        </p:spPr>
        <p:txBody>
          <a:bodyPr vert="horz" lIns="91440" tIns="45720" rIns="91440" bIns="45720" numCol="1" rtlCol="0" anchor="t">
            <a:noAutofit/>
          </a:bodyPr>
          <a:lstStyle/>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また、</a:t>
            </a:r>
            <a:r>
              <a:rPr lang="en-US" altLang="ja-JP" sz="1800" dirty="0">
                <a:latin typeface="メイリオ" panose="020B0604030504040204" pitchFamily="50" charset="-128"/>
                <a:ea typeface="メイリオ" panose="020B0604030504040204" pitchFamily="50" charset="-128"/>
              </a:rPr>
              <a:t>WEB</a:t>
            </a:r>
            <a:r>
              <a:rPr lang="ja-JP" altLang="en-US" sz="1800" dirty="0">
                <a:latin typeface="メイリオ" panose="020B0604030504040204" pitchFamily="50" charset="-128"/>
                <a:ea typeface="メイリオ" panose="020B0604030504040204" pitchFamily="50" charset="-128"/>
              </a:rPr>
              <a:t>サイトや広告などで、</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一度クリックしただけで、一方的に</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サービスへの入会などの契約成立を宣言され、</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多額の料金の支払いを</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求められるという詐欺をワンクリック詐欺といいます。</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endParaRPr lang="en-US" altLang="ja-JP" sz="18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知らない人から来たメールや、</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 </a:t>
            </a: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お金を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または</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無料で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の</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おいしいことが書かれているサイトにはご注意くださ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endParaRPr lang="en-US" altLang="ja-JP" sz="1800" dirty="0">
              <a:solidFill>
                <a:srgbClr val="009650"/>
              </a:solidFill>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solidFill>
                  <a:srgbClr val="009650"/>
                </a:solidFill>
                <a:latin typeface="メイリオ" panose="020B0604030504040204" pitchFamily="50" charset="-128"/>
                <a:ea typeface="メイリオ" panose="020B0604030504040204" pitchFamily="50" charset="-128"/>
              </a:rPr>
              <a:t>◉</a:t>
            </a:r>
            <a:r>
              <a:rPr lang="en-US" altLang="ja-JP" sz="1800" dirty="0">
                <a:solidFill>
                  <a:srgbClr val="009650"/>
                </a:solidFill>
                <a:latin typeface="メイリオ" panose="020B0604030504040204" pitchFamily="50" charset="-128"/>
                <a:ea typeface="メイリオ" panose="020B0604030504040204" pitchFamily="50" charset="-128"/>
              </a:rPr>
              <a:t> </a:t>
            </a:r>
            <a:r>
              <a:rPr lang="ja-JP" altLang="en-US" sz="1800" dirty="0">
                <a:latin typeface="メイリオ" panose="020B0604030504040204" pitchFamily="50" charset="-128"/>
                <a:ea typeface="メイリオ" panose="020B0604030504040204" pitchFamily="50" charset="-128"/>
              </a:rPr>
              <a:t>インターネットやメールを使う際は、</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知らない人からきたメール</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dirty="0">
                <a:latin typeface="メイリオ" panose="020B0604030504040204" pitchFamily="50" charset="-128"/>
                <a:ea typeface="メイリオ" panose="020B0604030504040204" pitchFamily="50" charset="-128"/>
              </a:rPr>
              <a:t>、また、</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おいしい話が掲載されているサイト</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有料です”と書かれているサイト</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には、</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dirty="0">
                <a:latin typeface="メイリオ" panose="020B0604030504040204" pitchFamily="50" charset="-128"/>
                <a:ea typeface="メイリオ" panose="020B0604030504040204" pitchFamily="50" charset="-128"/>
              </a:rPr>
              <a:t>細心の注意を払い、</a:t>
            </a:r>
            <a:endParaRPr lang="en-US" altLang="ja-JP" sz="1800" dirty="0">
              <a:latin typeface="メイリオ" panose="020B0604030504040204" pitchFamily="50" charset="-128"/>
              <a:ea typeface="メイリオ" panose="020B0604030504040204" pitchFamily="50" charset="-128"/>
            </a:endParaRPr>
          </a:p>
          <a:p>
            <a:pPr>
              <a:lnSpc>
                <a:spcPct val="100000"/>
              </a:lnSpc>
              <a:spcBef>
                <a:spcPts val="0"/>
              </a:spcBef>
              <a:buClr>
                <a:srgbClr val="FF3399"/>
              </a:buClr>
            </a:pPr>
            <a:r>
              <a:rPr lang="ja-JP" altLang="en-US" sz="1800">
                <a:latin typeface="メイリオ"/>
                <a:ea typeface="メイリオ"/>
              </a:rPr>
              <a:t>気軽に開かないように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Tree>
    <p:extLst>
      <p:ext uri="{BB962C8B-B14F-4D97-AF65-F5344CB8AC3E}">
        <p14:creationId xmlns:p14="http://schemas.microsoft.com/office/powerpoint/2010/main" val="4597171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3477875"/>
          </a:xfrm>
          <a:prstGeom prst="rect">
            <a:avLst/>
          </a:prstGeom>
          <a:noFill/>
        </p:spPr>
        <p:txBody>
          <a:bodyPr wrap="square" rtlCol="0">
            <a:spAutoFit/>
          </a:bodyPr>
          <a:lstStyle/>
          <a:p>
            <a:pPr marL="92075">
              <a:spcAft>
                <a:spcPts val="1200"/>
              </a:spcAft>
              <a:tabLst>
                <a:tab pos="82550" algn="l"/>
                <a:tab pos="525463" algn="l"/>
                <a:tab pos="1062038" algn="l"/>
              </a:tabLs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インターネットをブラウザで閲覧する</a:t>
            </a:r>
            <a:endParaRPr lang="en-US" altLang="ja-JP" sz="2400" b="1" dirty="0">
              <a:latin typeface="Meiryo" charset="-128"/>
              <a:ea typeface="Meiryo" charset="-128"/>
              <a:cs typeface="Meiryo" charset="-128"/>
            </a:endParaRP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A	Chrom</a:t>
            </a:r>
            <a:r>
              <a:rPr lang="en-US" altLang="ja-JP" b="1" spc="-1000" dirty="0">
                <a:latin typeface="Meiryo" charset="-128"/>
                <a:ea typeface="Meiryo" charset="-128"/>
                <a:cs typeface="Meiryo" charset="-128"/>
              </a:rPr>
              <a:t>e</a:t>
            </a:r>
            <a:r>
              <a:rPr lang="ja-JP" altLang="en-US" b="1" dirty="0">
                <a:latin typeface="Meiryo" charset="-128"/>
                <a:ea typeface="Meiryo" charset="-128"/>
                <a:cs typeface="Meiryo" charset="-128"/>
              </a:rPr>
              <a:t>（クローム</a:t>
            </a:r>
            <a:r>
              <a:rPr lang="ja-JP" altLang="en-US" b="1" spc="-1000" dirty="0">
                <a:latin typeface="Meiryo" charset="-128"/>
                <a:ea typeface="Meiryo" charset="-128"/>
                <a:cs typeface="Meiryo" charset="-128"/>
              </a:rPr>
              <a:t>）</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4</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B 	</a:t>
            </a:r>
            <a:r>
              <a:rPr lang="ja-JP" altLang="en-US" b="1" dirty="0">
                <a:latin typeface="Meiryo" charset="-128"/>
                <a:ea typeface="Meiryo" charset="-128"/>
                <a:cs typeface="Meiryo" charset="-128"/>
              </a:rPr>
              <a:t>ニュースを見てみ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5</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C 	</a:t>
            </a:r>
            <a:r>
              <a:rPr lang="ja-JP" altLang="en-US" b="1" dirty="0">
                <a:latin typeface="Meiryo" charset="-128"/>
                <a:ea typeface="Meiryo" charset="-128"/>
                <a:cs typeface="Meiryo" charset="-128"/>
              </a:rPr>
              <a:t>気に入ったページをブックマークす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D 	</a:t>
            </a:r>
            <a:r>
              <a:rPr lang="ja-JP" altLang="en-US" b="1" dirty="0">
                <a:latin typeface="Meiryo" charset="-128"/>
                <a:ea typeface="Meiryo" charset="-128"/>
                <a:cs typeface="Meiryo" charset="-128"/>
              </a:rPr>
              <a:t>ブックマークからページを開く</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8</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ブックマークからページを削除す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9</a:t>
            </a:r>
          </a:p>
          <a:p>
            <a:pPr marL="92075" algn="dist">
              <a:spcAft>
                <a:spcPts val="1200"/>
              </a:spcAft>
              <a:tabLst>
                <a:tab pos="82550" algn="l"/>
                <a:tab pos="525463" algn="l"/>
                <a:tab pos="1062038"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履歴からページを開く</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endParaRPr lang="ja-JP" altLang="en-US" b="1" dirty="0">
              <a:latin typeface="Meiryo" charset="-128"/>
              <a:ea typeface="Meiryo" charset="-128"/>
              <a:cs typeface="Meiryo" charset="-128"/>
            </a:endParaRPr>
          </a:p>
          <a:p>
            <a:pPr marL="92075" algn="dist">
              <a:tabLst>
                <a:tab pos="82550" algn="l"/>
                <a:tab pos="525463" algn="l"/>
                <a:tab pos="1062038" algn="l"/>
              </a:tabLst>
            </a:pPr>
            <a:r>
              <a:rPr lang="en-US" altLang="ja-JP" b="1" dirty="0">
                <a:latin typeface="Meiryo" charset="-128"/>
                <a:ea typeface="Meiryo" charset="-128"/>
                <a:cs typeface="Meiryo" charset="-128"/>
              </a:rPr>
              <a:t>	1-G 	</a:t>
            </a:r>
            <a:r>
              <a:rPr lang="ja-JP" altLang="en-US" b="1" dirty="0">
                <a:latin typeface="Meiryo" charset="-128"/>
                <a:ea typeface="Meiryo" charset="-128"/>
                <a:cs typeface="Meiryo" charset="-128"/>
              </a:rPr>
              <a:t>インターネットを使う時の注意点</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1</a:t>
            </a:r>
            <a:endParaRPr lang="en-US" altLang="ja-JP" sz="2000" b="1" dirty="0">
              <a:latin typeface="Meiryo" charset="-128"/>
              <a:ea typeface="Meiryo" charset="-128"/>
              <a:cs typeface="Meiryo" charset="-128"/>
            </a:endParaRPr>
          </a:p>
        </p:txBody>
      </p:sp>
      <p:pic>
        <p:nvPicPr>
          <p:cNvPr id="10" name="Picture 2" descr="スマートフォンを使っているうさぎ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AoyagiKouzanFontT"/>
                <a:cs typeface="AoyagiKouzanFontT"/>
              </a:rPr>
              <a:t> </a:t>
            </a:r>
            <a:r>
              <a:rPr lang="ja-JP" altLang="en-US" sz="4800" spc="-14" dirty="0">
                <a:solidFill>
                  <a:srgbClr val="009650"/>
                </a:solidFill>
                <a:latin typeface="AoyagiKouzanFontT"/>
                <a:cs typeface="AoyagiKouzanFontT"/>
              </a:rPr>
              <a:t>イ</a:t>
            </a:r>
            <a:r>
              <a:rPr lang="ja-JP" altLang="en-US" sz="4800" spc="14" dirty="0">
                <a:solidFill>
                  <a:srgbClr val="009650"/>
                </a:solidFill>
                <a:latin typeface="AoyagiKouzanFontT"/>
                <a:cs typeface="AoyagiKouzanFontT"/>
              </a:rPr>
              <a:t>ン</a:t>
            </a:r>
            <a:r>
              <a:rPr lang="ja-JP" altLang="en-US" sz="4800" spc="-14" dirty="0">
                <a:solidFill>
                  <a:srgbClr val="009650"/>
                </a:solidFill>
                <a:latin typeface="AoyagiKouzanFontT"/>
                <a:cs typeface="AoyagiKouzanFontT"/>
              </a:rPr>
              <a:t>タ</a:t>
            </a:r>
            <a:r>
              <a:rPr lang="ja-JP" altLang="en-US" sz="4800" spc="-57" dirty="0">
                <a:solidFill>
                  <a:srgbClr val="009650"/>
                </a:solidFill>
                <a:latin typeface="AoyagiKouzanFontT"/>
                <a:cs typeface="AoyagiKouzanFontT"/>
              </a:rPr>
              <a:t>ー</a:t>
            </a:r>
            <a:r>
              <a:rPr lang="ja-JP" altLang="en-US" sz="4800" spc="-21" dirty="0">
                <a:solidFill>
                  <a:srgbClr val="009650"/>
                </a:solidFill>
                <a:latin typeface="AoyagiKouzanFontT"/>
                <a:cs typeface="AoyagiKouzanFontT"/>
              </a:rPr>
              <a:t>ネ</a:t>
            </a:r>
            <a:r>
              <a:rPr lang="ja-JP" altLang="en-US" sz="4800" spc="28" dirty="0">
                <a:solidFill>
                  <a:srgbClr val="009650"/>
                </a:solidFill>
                <a:latin typeface="AoyagiKouzanFontT"/>
                <a:cs typeface="AoyagiKouzanFontT"/>
              </a:rPr>
              <a:t>ッ</a:t>
            </a:r>
            <a:r>
              <a:rPr lang="ja-JP" altLang="en-US" sz="4800" dirty="0">
                <a:solidFill>
                  <a:srgbClr val="009650"/>
                </a:solidFill>
                <a:latin typeface="AoyagiKouzanFontT"/>
                <a:cs typeface="AoyagiKouzanFontT"/>
              </a:rPr>
              <a:t>ト</a:t>
            </a:r>
            <a:r>
              <a:rPr lang="ja-JP" altLang="en-US" sz="4800" spc="49" dirty="0">
                <a:solidFill>
                  <a:srgbClr val="009650"/>
                </a:solidFill>
                <a:latin typeface="AoyagiKouzanFontT"/>
                <a:cs typeface="AoyagiKouzanFontT"/>
              </a:rPr>
              <a:t>を</a:t>
            </a:r>
          </a:p>
          <a:p>
            <a:pPr>
              <a:lnSpc>
                <a:spcPct val="100000"/>
              </a:lnSpc>
            </a:pPr>
            <a:r>
              <a:rPr lang="en-US" altLang="ja-JP" sz="4800" spc="-39" dirty="0">
                <a:solidFill>
                  <a:srgbClr val="009650"/>
                </a:solidFill>
                <a:latin typeface="AoyagiKouzanFontT"/>
                <a:cs typeface="AoyagiKouzanFontT"/>
              </a:rPr>
              <a:t> </a:t>
            </a:r>
            <a:r>
              <a:rPr lang="ja-JP" altLang="en-US" sz="4800" spc="-39" dirty="0">
                <a:solidFill>
                  <a:srgbClr val="009650"/>
                </a:solidFill>
                <a:latin typeface="AoyagiKouzanFontT"/>
                <a:cs typeface="AoyagiKouzanFontT"/>
              </a:rPr>
              <a:t>ブ</a:t>
            </a:r>
            <a:r>
              <a:rPr lang="ja-JP" altLang="en-US" sz="4800" spc="-14" dirty="0">
                <a:solidFill>
                  <a:srgbClr val="009650"/>
                </a:solidFill>
                <a:latin typeface="AoyagiKouzanFontT"/>
                <a:cs typeface="AoyagiKouzanFontT"/>
              </a:rPr>
              <a:t>ラ</a:t>
            </a:r>
            <a:r>
              <a:rPr lang="ja-JP" altLang="en-US" sz="4800" spc="14" dirty="0">
                <a:solidFill>
                  <a:srgbClr val="009650"/>
                </a:solidFill>
                <a:latin typeface="AoyagiKouzanFontT"/>
                <a:cs typeface="AoyagiKouzanFontT"/>
              </a:rPr>
              <a:t>ウ</a:t>
            </a:r>
            <a:r>
              <a:rPr lang="ja-JP" altLang="en-US" sz="4800" spc="-14" dirty="0">
                <a:solidFill>
                  <a:srgbClr val="009650"/>
                </a:solidFill>
                <a:latin typeface="AoyagiKouzanFontT"/>
                <a:cs typeface="AoyagiKouzanFontT"/>
              </a:rPr>
              <a:t>ザ</a:t>
            </a:r>
            <a:r>
              <a:rPr lang="ja-JP" altLang="en-US" sz="4800" spc="-21" dirty="0">
                <a:solidFill>
                  <a:srgbClr val="009650"/>
                </a:solidFill>
                <a:latin typeface="AoyagiKouzanFontT"/>
                <a:cs typeface="AoyagiKouzanFontT"/>
              </a:rPr>
              <a:t>で</a:t>
            </a:r>
            <a:r>
              <a:rPr lang="ja-JP" altLang="en-US" sz="4800" dirty="0">
                <a:solidFill>
                  <a:srgbClr val="009650"/>
                </a:solidFill>
                <a:latin typeface="AoyagiKouzanFontT"/>
                <a:cs typeface="AoyagiKouzanFontT"/>
              </a:rPr>
              <a:t>閲</a:t>
            </a:r>
            <a:r>
              <a:rPr lang="ja-JP" altLang="en-US" sz="4800" spc="11" dirty="0">
                <a:solidFill>
                  <a:srgbClr val="009650"/>
                </a:solidFill>
                <a:latin typeface="AoyagiKouzanFontT"/>
                <a:cs typeface="AoyagiKouzanFontT"/>
              </a:rPr>
              <a:t>覧</a:t>
            </a:r>
            <a:r>
              <a:rPr lang="ja-JP" altLang="en-US" sz="4800" spc="-11" dirty="0">
                <a:solidFill>
                  <a:srgbClr val="009650"/>
                </a:solidFill>
                <a:latin typeface="AoyagiKouzanFontT"/>
                <a:cs typeface="AoyagiKouzanFontT"/>
              </a:rPr>
              <a:t>す</a:t>
            </a:r>
            <a:r>
              <a:rPr lang="ja-JP" altLang="en-US" sz="4800" dirty="0">
                <a:solidFill>
                  <a:srgbClr val="009650"/>
                </a:solidFill>
                <a:latin typeface="AoyagiKouzanFontT"/>
                <a:cs typeface="AoyagiKouzanFontT"/>
              </a:rPr>
              <a:t>る</a:t>
            </a:r>
            <a:endParaRPr lang="en-US" altLang="ja-JP" sz="4800" dirty="0">
              <a:solidFill>
                <a:srgbClr val="009650"/>
              </a:solidFill>
            </a:endParaRPr>
          </a:p>
          <a:p>
            <a:endParaRPr lang="en-US" altLang="ja-JP" sz="4800" dirty="0">
              <a:solidFill>
                <a:srgbClr val="009650"/>
              </a:solidFill>
            </a:endParaRPr>
          </a:p>
        </p:txBody>
      </p:sp>
      <p:pic>
        <p:nvPicPr>
          <p:cNvPr id="5" name="Picture 4" descr="タブレットでレシピを見る人のイラスト">
            <a:extLst>
              <a:ext uri="{FF2B5EF4-FFF2-40B4-BE49-F238E27FC236}">
                <a16:creationId xmlns:a16="http://schemas.microsoft.com/office/drawing/2014/main" id="{B24223B0-C1CF-4D48-9BCD-96547C616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7" y="4093150"/>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248CDD9F-4AFF-899B-45C9-92315B37E96A}"/>
              </a:ext>
            </a:extLst>
          </p:cNvPr>
          <p:cNvSpPr/>
          <p:nvPr/>
        </p:nvSpPr>
        <p:spPr>
          <a:xfrm>
            <a:off x="615200" y="3015027"/>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10" name="object 7" descr="「Google Chrome（グーグルクローム）」のアイコンと概要を説明する表の画像">
            <a:extLst>
              <a:ext uri="{FF2B5EF4-FFF2-40B4-BE49-F238E27FC236}">
                <a16:creationId xmlns:a16="http://schemas.microsoft.com/office/drawing/2014/main" id="{CEC9E154-546D-C4D7-37CD-B97C60254179}"/>
              </a:ext>
            </a:extLst>
          </p:cNvPr>
          <p:cNvGraphicFramePr>
            <a:graphicFrameLocks noGrp="1"/>
          </p:cNvGraphicFramePr>
          <p:nvPr>
            <p:extLst>
              <p:ext uri="{D42A27DB-BD31-4B8C-83A1-F6EECF244321}">
                <p14:modId xmlns:p14="http://schemas.microsoft.com/office/powerpoint/2010/main" val="1713946998"/>
              </p:ext>
            </p:extLst>
          </p:nvPr>
        </p:nvGraphicFramePr>
        <p:xfrm>
          <a:off x="611257" y="3020403"/>
          <a:ext cx="7920000" cy="1632733"/>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314584">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318149">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200000"/>
                        </a:lnSpc>
                        <a:spcBef>
                          <a:spcPts val="155"/>
                        </a:spcBef>
                      </a:pPr>
                      <a:r>
                        <a:rPr lang="en-US" altLang="ja-JP" sz="1200" b="1" i="0" spc="20" dirty="0">
                          <a:latin typeface="Meiryo" charset="-128"/>
                          <a:ea typeface="Meiryo" charset="-128"/>
                          <a:cs typeface="Meiryo" charset="-128"/>
                        </a:rPr>
                        <a:t> </a:t>
                      </a:r>
                      <a:r>
                        <a:rPr lang="ja-JP" altLang="en-US" sz="1200" b="1" i="0" spc="20" dirty="0">
                          <a:latin typeface="Meiryo" charset="-128"/>
                          <a:ea typeface="Meiryo" charset="-128"/>
                          <a:cs typeface="Meiryo" charset="-128"/>
                        </a:rPr>
                        <a:t>高速</a:t>
                      </a:r>
                      <a:r>
                        <a:rPr lang="ja-JP" altLang="en-US" sz="1200" b="1" i="0" spc="30" dirty="0">
                          <a:latin typeface="Meiryo" charset="-128"/>
                          <a:ea typeface="Meiryo" charset="-128"/>
                          <a:cs typeface="Meiryo" charset="-128"/>
                        </a:rPr>
                        <a:t>で</a:t>
                      </a:r>
                      <a:r>
                        <a:rPr lang="ja-JP" altLang="en-US" sz="1200" b="1" i="0" spc="20" dirty="0">
                          <a:latin typeface="Meiryo" charset="-128"/>
                          <a:ea typeface="Meiryo" charset="-128"/>
                          <a:cs typeface="Meiryo" charset="-128"/>
                        </a:rPr>
                        <a:t>使</a:t>
                      </a:r>
                      <a:r>
                        <a:rPr lang="ja-JP" altLang="en-US" sz="1200" b="1" i="0" spc="25" dirty="0">
                          <a:latin typeface="Meiryo" charset="-128"/>
                          <a:ea typeface="Meiryo" charset="-128"/>
                          <a:cs typeface="Meiryo" charset="-128"/>
                        </a:rPr>
                        <a:t>い</a:t>
                      </a:r>
                      <a:r>
                        <a:rPr lang="ja-JP" altLang="en-US" sz="1200" b="1" i="0" spc="20" dirty="0">
                          <a:latin typeface="Meiryo" charset="-128"/>
                          <a:ea typeface="Meiryo" charset="-128"/>
                          <a:cs typeface="Meiryo" charset="-128"/>
                        </a:rPr>
                        <a:t>や</a:t>
                      </a:r>
                      <a:r>
                        <a:rPr lang="ja-JP" altLang="en-US" sz="1200" b="1" i="0" spc="30" dirty="0">
                          <a:latin typeface="Meiryo" charset="-128"/>
                          <a:ea typeface="Meiryo" charset="-128"/>
                          <a:cs typeface="Meiryo" charset="-128"/>
                        </a:rPr>
                        <a:t>す</a:t>
                      </a:r>
                      <a:r>
                        <a:rPr lang="ja-JP" altLang="en-US" sz="1200" b="1" i="0" spc="20" dirty="0">
                          <a:latin typeface="Meiryo" charset="-128"/>
                          <a:ea typeface="Meiryo" charset="-128"/>
                          <a:cs typeface="Meiryo" charset="-128"/>
                        </a:rPr>
                        <a:t>く</a:t>
                      </a:r>
                      <a:r>
                        <a:rPr lang="ja-JP" altLang="en-US" sz="1200" b="1" i="0" spc="30" dirty="0">
                          <a:latin typeface="Meiryo" charset="-128"/>
                          <a:ea typeface="Meiryo" charset="-128"/>
                          <a:cs typeface="Meiryo" charset="-128"/>
                        </a:rPr>
                        <a:t>、</a:t>
                      </a:r>
                      <a:r>
                        <a:rPr lang="ja-JP" altLang="en-US" sz="1200" b="1" i="0" spc="35" dirty="0">
                          <a:latin typeface="Meiryo" charset="-128"/>
                          <a:ea typeface="Meiryo" charset="-128"/>
                          <a:cs typeface="Meiryo" charset="-128"/>
                        </a:rPr>
                        <a:t>安</a:t>
                      </a:r>
                      <a:r>
                        <a:rPr lang="ja-JP" altLang="en-US" sz="1200" b="1" i="0" spc="20" dirty="0">
                          <a:latin typeface="Meiryo" charset="-128"/>
                          <a:ea typeface="Meiryo" charset="-128"/>
                          <a:cs typeface="Meiryo" charset="-128"/>
                        </a:rPr>
                        <a:t>全な</a:t>
                      </a:r>
                      <a:r>
                        <a:rPr lang="ja-JP" altLang="en-US" sz="1200" b="1" i="0" spc="30" dirty="0">
                          <a:latin typeface="Meiryo" charset="-128"/>
                          <a:ea typeface="Meiryo" charset="-128"/>
                          <a:cs typeface="Meiryo" charset="-128"/>
                        </a:rPr>
                        <a:t>ウェ</a:t>
                      </a:r>
                      <a:r>
                        <a:rPr lang="ja-JP" altLang="en-US" sz="1200" b="1" i="0" spc="20" dirty="0">
                          <a:latin typeface="Meiryo" charset="-128"/>
                          <a:ea typeface="Meiryo" charset="-128"/>
                          <a:cs typeface="Meiryo" charset="-128"/>
                        </a:rPr>
                        <a:t>ブブ</a:t>
                      </a:r>
                      <a:r>
                        <a:rPr lang="ja-JP" altLang="en-US" sz="1200" b="1" i="0" spc="35" dirty="0">
                          <a:latin typeface="Meiryo" charset="-128"/>
                          <a:ea typeface="Meiryo" charset="-128"/>
                          <a:cs typeface="Meiryo" charset="-128"/>
                        </a:rPr>
                        <a:t>ラ</a:t>
                      </a:r>
                      <a:r>
                        <a:rPr lang="ja-JP" altLang="en-US" sz="1200" b="1" i="0" spc="20" dirty="0">
                          <a:latin typeface="Meiryo" charset="-128"/>
                          <a:ea typeface="Meiryo" charset="-128"/>
                          <a:cs typeface="Meiryo" charset="-128"/>
                        </a:rPr>
                        <a:t>ウ</a:t>
                      </a:r>
                      <a:r>
                        <a:rPr lang="ja-JP" altLang="en-US" sz="1200" b="1" i="0" spc="35" dirty="0">
                          <a:latin typeface="Meiryo" charset="-128"/>
                          <a:ea typeface="Meiryo" charset="-128"/>
                          <a:cs typeface="Meiryo" charset="-128"/>
                        </a:rPr>
                        <a:t>ザ</a:t>
                      </a:r>
                      <a:endParaRPr lang="ja-JP" altLang="en-US" sz="1200" b="1" i="0" dirty="0">
                        <a:latin typeface="Meiryo" charset="-128"/>
                        <a:ea typeface="Meiryo" charset="-128"/>
                        <a:cs typeface="Meiryo" charset="-128"/>
                      </a:endParaRPr>
                    </a:p>
                    <a:p>
                      <a:pPr marL="68580">
                        <a:lnSpc>
                          <a:spcPct val="125000"/>
                        </a:lnSpc>
                        <a:spcBef>
                          <a:spcPts val="130"/>
                        </a:spcBef>
                      </a:pPr>
                      <a:r>
                        <a:rPr lang="en-US" altLang="ja-JP" sz="1200" b="1" i="0" spc="5" dirty="0">
                          <a:latin typeface="Meiryo" charset="-128"/>
                          <a:ea typeface="Meiryo" charset="-128"/>
                          <a:cs typeface="Meiryo" charset="-128"/>
                        </a:rPr>
                        <a:t> </a:t>
                      </a:r>
                      <a:r>
                        <a:rPr lang="ja-JP" altLang="en-US" sz="1200" b="1" i="0" spc="5" dirty="0">
                          <a:latin typeface="Meiryo" charset="-128"/>
                          <a:ea typeface="Meiryo" charset="-128"/>
                          <a:cs typeface="Meiryo" charset="-128"/>
                        </a:rPr>
                        <a:t>カス</a:t>
                      </a:r>
                      <a:r>
                        <a:rPr lang="ja-JP" altLang="en-US" sz="1200" b="1" i="0" spc="15" dirty="0">
                          <a:latin typeface="Meiryo" charset="-128"/>
                          <a:ea typeface="Meiryo" charset="-128"/>
                          <a:cs typeface="Meiryo" charset="-128"/>
                        </a:rPr>
                        <a:t>タ</a:t>
                      </a:r>
                      <a:r>
                        <a:rPr lang="ja-JP" altLang="en-US" sz="1200" b="1" i="0" spc="5" dirty="0">
                          <a:latin typeface="Meiryo" charset="-128"/>
                          <a:ea typeface="Meiryo" charset="-128"/>
                          <a:cs typeface="Meiryo" charset="-128"/>
                        </a:rPr>
                        <a:t>マイ</a:t>
                      </a:r>
                      <a:r>
                        <a:rPr lang="ja-JP" altLang="en-US" sz="1200" b="1" i="0" spc="15" dirty="0">
                          <a:latin typeface="Meiryo" charset="-128"/>
                          <a:ea typeface="Meiryo" charset="-128"/>
                          <a:cs typeface="Meiryo" charset="-128"/>
                        </a:rPr>
                        <a:t>ズさ</a:t>
                      </a:r>
                      <a:r>
                        <a:rPr lang="ja-JP" altLang="en-US" sz="1200" b="1" i="0" spc="10" dirty="0">
                          <a:latin typeface="Meiryo" charset="-128"/>
                          <a:ea typeface="Meiryo" charset="-128"/>
                          <a:cs typeface="Meiryo" charset="-128"/>
                        </a:rPr>
                        <a:t>れ</a:t>
                      </a:r>
                      <a:r>
                        <a:rPr lang="ja-JP" altLang="en-US" sz="1200" b="1" i="0" spc="5" dirty="0">
                          <a:latin typeface="Meiryo" charset="-128"/>
                          <a:ea typeface="Meiryo" charset="-128"/>
                          <a:cs typeface="Meiryo" charset="-128"/>
                        </a:rPr>
                        <a:t>た</a:t>
                      </a:r>
                      <a:r>
                        <a:rPr lang="ja-JP" altLang="en-US" sz="1200" b="1" i="0" spc="10" dirty="0">
                          <a:latin typeface="Meiryo" charset="-128"/>
                          <a:ea typeface="Meiryo" charset="-128"/>
                          <a:cs typeface="Meiryo" charset="-128"/>
                        </a:rPr>
                        <a:t>ニ</a:t>
                      </a:r>
                      <a:r>
                        <a:rPr lang="ja-JP" altLang="en-US" sz="1200" b="1" i="0" spc="5" dirty="0">
                          <a:latin typeface="Meiryo" charset="-128"/>
                          <a:ea typeface="Meiryo" charset="-128"/>
                          <a:cs typeface="Meiryo" charset="-128"/>
                        </a:rPr>
                        <a:t>ュ</a:t>
                      </a:r>
                      <a:r>
                        <a:rPr lang="ja-JP" altLang="en-US" sz="1200" b="1" i="0" spc="10" dirty="0">
                          <a:latin typeface="Meiryo" charset="-128"/>
                          <a:ea typeface="Meiryo" charset="-128"/>
                          <a:cs typeface="Meiryo" charset="-128"/>
                        </a:rPr>
                        <a:t>ー</a:t>
                      </a:r>
                      <a:r>
                        <a:rPr lang="ja-JP" altLang="en-US" sz="1200" b="1" i="0" spc="5" dirty="0">
                          <a:latin typeface="Meiryo" charset="-128"/>
                          <a:ea typeface="Meiryo" charset="-128"/>
                          <a:cs typeface="Meiryo" charset="-128"/>
                        </a:rPr>
                        <a:t>ス</a:t>
                      </a:r>
                      <a:r>
                        <a:rPr lang="ja-JP" altLang="en-US" sz="1200" b="1" i="0" spc="10" dirty="0">
                          <a:latin typeface="Meiryo" charset="-128"/>
                          <a:ea typeface="Meiryo" charset="-128"/>
                          <a:cs typeface="Meiryo" charset="-128"/>
                        </a:rPr>
                        <a:t>記事</a:t>
                      </a:r>
                      <a:r>
                        <a:rPr lang="ja-JP" altLang="en-US" sz="1200" b="1" i="0" spc="5" dirty="0">
                          <a:latin typeface="Meiryo" charset="-128"/>
                          <a:ea typeface="Meiryo" charset="-128"/>
                          <a:cs typeface="Meiryo" charset="-128"/>
                        </a:rPr>
                        <a:t>、</a:t>
                      </a:r>
                    </a:p>
                    <a:p>
                      <a:pPr marL="68580">
                        <a:lnSpc>
                          <a:spcPct val="125000"/>
                        </a:lnSpc>
                        <a:spcBef>
                          <a:spcPts val="130"/>
                        </a:spcBef>
                      </a:pPr>
                      <a:r>
                        <a:rPr lang="en-US" altLang="ja-JP" sz="1200" b="1" i="0" spc="15" dirty="0">
                          <a:latin typeface="Meiryo" charset="-128"/>
                          <a:ea typeface="Meiryo" charset="-128"/>
                          <a:cs typeface="Meiryo" charset="-128"/>
                        </a:rPr>
                        <a:t> </a:t>
                      </a:r>
                      <a:r>
                        <a:rPr lang="ja-JP" altLang="en-US" sz="1200" b="1" i="0" spc="15" dirty="0">
                          <a:latin typeface="Meiryo" charset="-128"/>
                          <a:ea typeface="Meiryo" charset="-128"/>
                          <a:cs typeface="Meiryo" charset="-128"/>
                        </a:rPr>
                        <a:t>お</a:t>
                      </a:r>
                      <a:r>
                        <a:rPr lang="ja-JP" altLang="en-US" sz="1200" b="1" i="0" spc="10" dirty="0">
                          <a:latin typeface="Meiryo" charset="-128"/>
                          <a:ea typeface="Meiryo" charset="-128"/>
                          <a:cs typeface="Meiryo" charset="-128"/>
                        </a:rPr>
                        <a:t>気に入</a:t>
                      </a:r>
                      <a:r>
                        <a:rPr lang="ja-JP" altLang="en-US" sz="1200" b="1" i="0" spc="15" dirty="0">
                          <a:latin typeface="Meiryo" charset="-128"/>
                          <a:ea typeface="Meiryo" charset="-128"/>
                          <a:cs typeface="Meiryo" charset="-128"/>
                        </a:rPr>
                        <a:t>り</a:t>
                      </a:r>
                      <a:r>
                        <a:rPr lang="ja-JP" altLang="en-US" sz="1200" b="1" i="0" dirty="0">
                          <a:latin typeface="Meiryo" charset="-128"/>
                          <a:ea typeface="Meiryo" charset="-128"/>
                          <a:cs typeface="Meiryo" charset="-128"/>
                        </a:rPr>
                        <a:t>のサイトへのリンク、ダウンロード、</a:t>
                      </a:r>
                    </a:p>
                    <a:p>
                      <a:pPr marL="68580">
                        <a:lnSpc>
                          <a:spcPct val="125000"/>
                        </a:lnSpc>
                        <a:spcBef>
                          <a:spcPts val="130"/>
                        </a:spcBef>
                      </a:pPr>
                      <a:r>
                        <a:rPr lang="en-US" altLang="ja-JP" sz="1200" b="1" i="0" dirty="0">
                          <a:latin typeface="Meiryo" charset="-128"/>
                          <a:ea typeface="Meiryo" charset="-128"/>
                          <a:cs typeface="Meiryo" charset="-128"/>
                        </a:rPr>
                        <a:t> Google</a:t>
                      </a:r>
                      <a:r>
                        <a:rPr lang="ja-JP" altLang="en-US" sz="1200" b="1" i="0" dirty="0">
                          <a:latin typeface="Meiryo" charset="-128"/>
                          <a:ea typeface="Meiryo" charset="-128"/>
                          <a:cs typeface="Meiryo" charset="-128"/>
                        </a:rPr>
                        <a:t>検索、</a:t>
                      </a:r>
                      <a:r>
                        <a:rPr lang="en-US" altLang="ja-JP" sz="1200" b="1" i="0" dirty="0">
                          <a:latin typeface="Meiryo" charset="-128"/>
                          <a:ea typeface="Meiryo" charset="-128"/>
                          <a:cs typeface="Meiryo" charset="-128"/>
                        </a:rPr>
                        <a:t>Google</a:t>
                      </a:r>
                      <a:r>
                        <a:rPr lang="ja-JP" altLang="en-US" sz="1200" b="1" i="0" dirty="0">
                          <a:latin typeface="Meiryo" charset="-128"/>
                          <a:ea typeface="Meiryo" charset="-128"/>
                          <a:cs typeface="Meiryo" charset="-128"/>
                        </a:rPr>
                        <a:t>翻訳などを利用できま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200000"/>
                        </a:lnSpc>
                        <a:spcBef>
                          <a:spcPts val="155"/>
                        </a:spcBef>
                      </a:pPr>
                      <a:r>
                        <a:rPr lang="en-US" altLang="ja-JP" sz="1200" b="1" i="0" spc="-20" dirty="0">
                          <a:latin typeface="Meiryo" charset="-128"/>
                          <a:ea typeface="Meiryo" charset="-128"/>
                          <a:cs typeface="Meiryo" charset="-128"/>
                        </a:rPr>
                        <a:t> </a:t>
                      </a:r>
                      <a:r>
                        <a:rPr lang="en-US" altLang="ja-JP" sz="1200" b="1" i="0" dirty="0">
                          <a:latin typeface="Meiryo" charset="-128"/>
                          <a:ea typeface="Meiryo" charset="-128"/>
                          <a:cs typeface="Meiryo" charset="-128"/>
                        </a:rPr>
                        <a:t>Google</a:t>
                      </a:r>
                      <a:r>
                        <a:rPr lang="en-US" altLang="ja-JP" sz="1200" b="1" i="0" spc="-10" dirty="0">
                          <a:latin typeface="Meiryo" charset="-128"/>
                          <a:ea typeface="Meiryo" charset="-128"/>
                          <a:cs typeface="Meiryo" charset="-128"/>
                        </a:rPr>
                        <a:t> </a:t>
                      </a:r>
                      <a:r>
                        <a:rPr lang="en-US" altLang="ja-JP" sz="1200" b="1" i="0" dirty="0">
                          <a:latin typeface="Meiryo" charset="-128"/>
                          <a:ea typeface="Meiryo" charset="-128"/>
                          <a:cs typeface="Meiryo" charset="-128"/>
                        </a:rPr>
                        <a:t>Chrome</a:t>
                      </a: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200" b="1" i="0" spc="100" dirty="0">
                          <a:latin typeface="Meiryo" charset="-128"/>
                          <a:ea typeface="Meiryo" charset="-128"/>
                          <a:cs typeface="Meiryo" charset="-128"/>
                        </a:rPr>
                        <a:t> </a:t>
                      </a:r>
                      <a:r>
                        <a:rPr lang="en-US" altLang="ja-JP" sz="1200" b="1" i="0" dirty="0">
                          <a:latin typeface="Meiryo" charset="-128"/>
                          <a:ea typeface="Meiryo" charset="-128"/>
                          <a:cs typeface="Meiryo" charset="-128"/>
                        </a:rPr>
                        <a:t>Google</a:t>
                      </a:r>
                      <a:r>
                        <a:rPr lang="en-US" altLang="ja-JP" sz="1200" b="1" i="0" spc="-5" dirty="0">
                          <a:latin typeface="Meiryo" charset="-128"/>
                          <a:ea typeface="Meiryo" charset="-128"/>
                          <a:cs typeface="Meiryo" charset="-128"/>
                        </a:rPr>
                        <a:t> </a:t>
                      </a:r>
                      <a:r>
                        <a:rPr lang="en-US" altLang="ja-JP" sz="1200" b="1" i="0" dirty="0">
                          <a:latin typeface="Meiryo" charset="-128"/>
                          <a:ea typeface="Meiryo" charset="-128"/>
                          <a:cs typeface="Meiryo" charset="-128"/>
                        </a:rPr>
                        <a:t>LLC.</a:t>
                      </a:r>
                      <a:r>
                        <a:rPr lang="ja-JP" altLang="en-US" sz="1200" b="1" i="0" dirty="0">
                          <a:latin typeface="Meiryo" charset="-128"/>
                          <a:ea typeface="Meiryo" charset="-128"/>
                          <a:cs typeface="Meiryo" charset="-128"/>
                        </a:rPr>
                        <a:t> （</a:t>
                      </a:r>
                      <a:r>
                        <a:rPr lang="en-US" altLang="ja-JP" sz="1200" b="1" i="0" dirty="0">
                          <a:latin typeface="Meiryo" charset="-128"/>
                          <a:ea typeface="Meiryo" charset="-128"/>
                          <a:cs typeface="Meiryo" charset="-128"/>
                        </a:rPr>
                        <a:t>Ver113.0</a:t>
                      </a:r>
                      <a:r>
                        <a:rPr lang="ja-JP" altLang="en-US" sz="1200" b="1" i="0" dirty="0">
                          <a:latin typeface="Meiryo" charset="-128"/>
                          <a:ea typeface="Meiryo" charset="-128"/>
                          <a:cs typeface="Meiryo" charset="-128"/>
                        </a:rPr>
                        <a:t>）</a:t>
                      </a:r>
                      <a:endParaRPr lang="en-US" altLang="ja-JP" sz="1200" b="1" i="0" dirty="0">
                        <a:latin typeface="Meiryo" charset="-128"/>
                        <a:ea typeface="Meiryo" charset="-128"/>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200" b="1" i="0" baseline="0" dirty="0">
                          <a:latin typeface="Meiryo" charset="-128"/>
                          <a:ea typeface="Meiryo" charset="-128"/>
                          <a:cs typeface="Meiryo" charset="-128"/>
                        </a:rPr>
                        <a:t> </a:t>
                      </a:r>
                      <a:r>
                        <a:rPr lang="ja-JP" altLang="en-US" sz="1200" b="1" i="0" dirty="0">
                          <a:latin typeface="Meiryo" charset="-128"/>
                          <a:ea typeface="Meiryo" charset="-128"/>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5163593"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en-US" altLang="ja-JP" kern="0" dirty="0"/>
              <a:t>Chrome</a:t>
            </a:r>
            <a:r>
              <a:rPr kumimoji="0" lang="ja-JP" altLang="en-US" kern="0" dirty="0"/>
              <a:t>（クローム）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3"/>
            <a:ext cx="8240660" cy="1395505"/>
          </a:xfrm>
        </p:spPr>
        <p:txBody>
          <a:bodyPr>
            <a:normAutofit/>
          </a:bodyPr>
          <a:lstStyle/>
          <a:p>
            <a:r>
              <a:rPr lang="ja-JP" altLang="en-US" sz="2200" dirty="0"/>
              <a:t>インターネ</a:t>
            </a:r>
            <a:r>
              <a:rPr lang="ja-JP" altLang="en-US" sz="2200" spc="-750" dirty="0"/>
              <a:t>ッ</a:t>
            </a:r>
            <a:r>
              <a:rPr lang="ja-JP" altLang="en-US" sz="2200" dirty="0"/>
              <a:t>トを見るソフト（ブラウザ）として</a:t>
            </a:r>
            <a:endParaRPr lang="en-US" altLang="ja-JP" sz="2200" dirty="0"/>
          </a:p>
          <a:p>
            <a:r>
              <a:rPr lang="ja-JP" altLang="en-US" sz="2200" dirty="0"/>
              <a:t>様々なものがありますが、今回は</a:t>
            </a:r>
            <a:r>
              <a:rPr lang="en-US" altLang="ja-JP" sz="2200" dirty="0"/>
              <a:t>Google</a:t>
            </a:r>
            <a:r>
              <a:rPr lang="ja-JP" altLang="en-US" sz="2200" dirty="0"/>
              <a:t>（グーグル）社の</a:t>
            </a:r>
            <a:endParaRPr lang="en-US" altLang="ja-JP" sz="2200" dirty="0"/>
          </a:p>
          <a:p>
            <a:r>
              <a:rPr lang="en-US" altLang="ja-JP" sz="2200" dirty="0"/>
              <a:t>Chrome</a:t>
            </a:r>
            <a:r>
              <a:rPr lang="ja-JP" altLang="en-US" sz="2200" dirty="0"/>
              <a:t>（クローム）を使用してご説明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14" name="字幕 5">
            <a:extLst>
              <a:ext uri="{FF2B5EF4-FFF2-40B4-BE49-F238E27FC236}">
                <a16:creationId xmlns:a16="http://schemas.microsoft.com/office/drawing/2014/main" id="{5C5F5485-8EFB-979D-1F2B-C14C2911EEB0}"/>
              </a:ext>
            </a:extLst>
          </p:cNvPr>
          <p:cNvSpPr txBox="1">
            <a:spLocks/>
          </p:cNvSpPr>
          <p:nvPr/>
        </p:nvSpPr>
        <p:spPr>
          <a:xfrm>
            <a:off x="539552" y="4797152"/>
            <a:ext cx="8284319" cy="1215717"/>
          </a:xfrm>
          <a:prstGeom prst="rect">
            <a:avLst/>
          </a:prstGeom>
        </p:spPr>
        <p:txBody>
          <a:bodyPr wrap="non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r>
              <a:rPr kumimoji="0" lang="en-US" altLang="ja-JP" sz="1700" kern="0" dirty="0">
                <a:solidFill>
                  <a:srgbClr val="009650"/>
                </a:solidFill>
              </a:rPr>
              <a:t>Android</a:t>
            </a:r>
            <a:r>
              <a:rPr kumimoji="0" lang="ja-JP" altLang="en-US" sz="1700" kern="0" dirty="0">
                <a:solidFill>
                  <a:srgbClr val="009650"/>
                </a:solidFill>
              </a:rPr>
              <a:t>のスマートフォンには最初からインストールされています。</a:t>
            </a:r>
            <a:endParaRPr kumimoji="0" lang="en-US" altLang="ja-JP" sz="1700" kern="0" dirty="0">
              <a:solidFill>
                <a:srgbClr val="009650"/>
              </a:solidFill>
            </a:endParaRPr>
          </a:p>
          <a:p>
            <a:r>
              <a:rPr kumimoji="0" lang="ja-JP" altLang="en-US" sz="1700" kern="0" dirty="0">
                <a:solidFill>
                  <a:srgbClr val="009650"/>
                </a:solidFill>
              </a:rPr>
              <a:t>新規でのインストールは不要です。</a:t>
            </a:r>
            <a:endParaRPr kumimoji="0" lang="en-US" altLang="ja-JP" sz="1700" kern="0" dirty="0">
              <a:solidFill>
                <a:srgbClr val="009650"/>
              </a:solidFill>
            </a:endParaRPr>
          </a:p>
          <a:p>
            <a:endParaRPr kumimoji="0" lang="en-US" altLang="ja-JP" sz="1100" kern="0" dirty="0">
              <a:solidFill>
                <a:srgbClr val="009650"/>
              </a:solidFill>
              <a:latin typeface="メイリオ" panose="020B0604030504040204" pitchFamily="50" charset="-128"/>
              <a:ea typeface="メイリオ" panose="020B0604030504040204" pitchFamily="50" charset="-128"/>
              <a:cs typeface="Calibri"/>
            </a:endParaRPr>
          </a:p>
          <a:p>
            <a:r>
              <a:rPr lang="ja-JP" altLang="en-US" sz="1700" dirty="0">
                <a:latin typeface="メイリオ" panose="020B0604030504040204" pitchFamily="50" charset="-128"/>
                <a:ea typeface="メイリオ" panose="020B0604030504040204" pitchFamily="50" charset="-128"/>
                <a:cs typeface="Calibri"/>
              </a:rPr>
              <a:t>ブラウザは検索の際に使うインターネットへの入り口に近いものです。</a:t>
            </a:r>
          </a:p>
          <a:p>
            <a:r>
              <a:rPr lang="ja-JP" altLang="en-US" sz="1700" dirty="0">
                <a:latin typeface="メイリオ" panose="020B0604030504040204" pitchFamily="50" charset="-128"/>
                <a:ea typeface="メイリオ" panose="020B0604030504040204" pitchFamily="50" charset="-128"/>
                <a:cs typeface="Calibri"/>
              </a:rPr>
              <a:t>今回ご紹介するもの以外にもご自身でお好みのブラウザを利用することもできます。</a:t>
            </a:r>
          </a:p>
        </p:txBody>
      </p:sp>
      <p:pic>
        <p:nvPicPr>
          <p:cNvPr id="22" name="図 21" descr="アイコン&#10;&#10;中程度の精度で自動的に生成された説明">
            <a:extLst>
              <a:ext uri="{FF2B5EF4-FFF2-40B4-BE49-F238E27FC236}">
                <a16:creationId xmlns:a16="http://schemas.microsoft.com/office/drawing/2014/main" id="{C11A3F7D-A1BA-947A-756E-54B76A9E1EFF}"/>
              </a:ext>
            </a:extLst>
          </p:cNvPr>
          <p:cNvPicPr>
            <a:picLocks noChangeAspect="1"/>
          </p:cNvPicPr>
          <p:nvPr/>
        </p:nvPicPr>
        <p:blipFill>
          <a:blip r:embed="rId6"/>
          <a:stretch>
            <a:fillRect/>
          </a:stretch>
        </p:blipFill>
        <p:spPr>
          <a:xfrm>
            <a:off x="682955" y="3404184"/>
            <a:ext cx="1104935" cy="1104935"/>
          </a:xfrm>
          <a:prstGeom prst="rect">
            <a:avLst/>
          </a:prstGeom>
        </p:spPr>
      </p:pic>
    </p:spTree>
    <p:extLst>
      <p:ext uri="{BB962C8B-B14F-4D97-AF65-F5344CB8AC3E}">
        <p14:creationId xmlns:p14="http://schemas.microsoft.com/office/powerpoint/2010/main" val="1598540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0B59AA47-1198-D68C-35B0-C52664126F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417" y="2678500"/>
            <a:ext cx="1638010" cy="34004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A21A2B2-2955-2CF9-957F-5B51465B51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36" name="図 4" descr="携帯電話の画面&#10;&#10;説明は自動で生成されたものです">
            <a:extLst>
              <a:ext uri="{FF2B5EF4-FFF2-40B4-BE49-F238E27FC236}">
                <a16:creationId xmlns:a16="http://schemas.microsoft.com/office/drawing/2014/main" id="{C7BDB2DD-B62D-9E83-0D27-C6663710D1DC}"/>
              </a:ext>
            </a:extLst>
          </p:cNvPr>
          <p:cNvPicPr>
            <a:picLocks noChangeAspect="1"/>
          </p:cNvPicPr>
          <p:nvPr/>
        </p:nvPicPr>
        <p:blipFill>
          <a:blip r:embed="rId8"/>
          <a:stretch>
            <a:fillRect/>
          </a:stretch>
        </p:blipFill>
        <p:spPr>
          <a:xfrm>
            <a:off x="-98504" y="2438401"/>
            <a:ext cx="3839735" cy="3839735"/>
          </a:xfrm>
          <a:prstGeom prst="rect">
            <a:avLst/>
          </a:prstGeom>
        </p:spPr>
      </p:pic>
      <p:pic>
        <p:nvPicPr>
          <p:cNvPr id="42" name="図 41" descr="グラフィカル ユーザー インターフェイス, アプリケーション&#10;&#10;説明は自動で生成されたものです">
            <a:extLst>
              <a:ext uri="{FF2B5EF4-FFF2-40B4-BE49-F238E27FC236}">
                <a16:creationId xmlns:a16="http://schemas.microsoft.com/office/drawing/2014/main" id="{002DA5E2-2DD5-7B3B-BFD2-3A80380908AE}"/>
              </a:ext>
            </a:extLst>
          </p:cNvPr>
          <p:cNvPicPr>
            <a:picLocks noChangeAspect="1"/>
          </p:cNvPicPr>
          <p:nvPr/>
        </p:nvPicPr>
        <p:blipFill>
          <a:blip r:embed="rId9"/>
          <a:stretch>
            <a:fillRect/>
          </a:stretch>
        </p:blipFill>
        <p:spPr>
          <a:xfrm>
            <a:off x="1053838" y="2721671"/>
            <a:ext cx="1534337" cy="3204117"/>
          </a:xfrm>
          <a:prstGeom prst="rect">
            <a:avLst/>
          </a:prstGeom>
        </p:spPr>
      </p:pic>
      <p:sp>
        <p:nvSpPr>
          <p:cNvPr id="34" name="四角形: 角を丸くする 33">
            <a:extLst>
              <a:ext uri="{FF2B5EF4-FFF2-40B4-BE49-F238E27FC236}">
                <a16:creationId xmlns:a16="http://schemas.microsoft.com/office/drawing/2014/main" id="{A7843C16-AEE4-040A-F2A2-9ED5FE470AA0}"/>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四角形: 角を丸くする 44">
            <a:extLst>
              <a:ext uri="{FF2B5EF4-FFF2-40B4-BE49-F238E27FC236}">
                <a16:creationId xmlns:a16="http://schemas.microsoft.com/office/drawing/2014/main" id="{C394ADDC-4B0C-7F6B-24B7-BA36E472BEF0}"/>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7" name="図 46">
            <a:extLst>
              <a:ext uri="{FF2B5EF4-FFF2-40B4-BE49-F238E27FC236}">
                <a16:creationId xmlns:a16="http://schemas.microsoft.com/office/drawing/2014/main" id="{A60285F3-414E-C8D7-8BE5-87A01CB33EFB}"/>
              </a:ext>
            </a:extLst>
          </p:cNvPr>
          <p:cNvPicPr>
            <a:picLocks noChangeAspect="1"/>
          </p:cNvPicPr>
          <p:nvPr/>
        </p:nvPicPr>
        <p:blipFill>
          <a:blip r:embed="rId10"/>
          <a:stretch>
            <a:fillRect/>
          </a:stretch>
        </p:blipFill>
        <p:spPr>
          <a:xfrm>
            <a:off x="1749232" y="2678500"/>
            <a:ext cx="134977" cy="134977"/>
          </a:xfrm>
          <a:prstGeom prst="rect">
            <a:avLst/>
          </a:prstGeom>
        </p:spPr>
      </p:pic>
      <p:sp>
        <p:nvSpPr>
          <p:cNvPr id="51" name="矢印: 右 50">
            <a:extLst>
              <a:ext uri="{FF2B5EF4-FFF2-40B4-BE49-F238E27FC236}">
                <a16:creationId xmlns:a16="http://schemas.microsoft.com/office/drawing/2014/main" id="{5BE09C91-7028-91D8-CEA0-99435511B245}"/>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字幕 14">
            <a:extLst>
              <a:ext uri="{FF2B5EF4-FFF2-40B4-BE49-F238E27FC236}">
                <a16:creationId xmlns:a16="http://schemas.microsoft.com/office/drawing/2014/main" id="{5D35D6C4-206B-F7C1-4592-AC05139E2ED7}"/>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Chrome</a:t>
            </a:r>
            <a:r>
              <a:rPr lang="ja-JP" altLang="en-US" sz="2800">
                <a:latin typeface="Meiryo"/>
                <a:ea typeface="Meiryo"/>
              </a:rPr>
              <a:t>でニュースを見てみましょう（キーボード入力）</a:t>
            </a:r>
          </a:p>
          <a:p>
            <a:endParaRPr lang="ja-JP" altLang="en-US" sz="2800" dirty="0"/>
          </a:p>
        </p:txBody>
      </p:sp>
      <p:sp>
        <p:nvSpPr>
          <p:cNvPr id="8" name="テキスト ボックス 7">
            <a:extLst>
              <a:ext uri="{FF2B5EF4-FFF2-40B4-BE49-F238E27FC236}">
                <a16:creationId xmlns:a16="http://schemas.microsoft.com/office/drawing/2014/main" id="{36CD5D6C-5E9A-87AF-E5AC-7295AC4937E5}"/>
              </a:ext>
            </a:extLst>
          </p:cNvPr>
          <p:cNvSpPr txBox="1"/>
          <p:nvPr/>
        </p:nvSpPr>
        <p:spPr>
          <a:xfrm>
            <a:off x="5921705" y="187768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99D9A4AE-C064-D3B7-5407-2F191FF35956}"/>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0834595F-B5B9-2511-981D-730A1F66345B}"/>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13" name="グループ化 12">
            <a:extLst>
              <a:ext uri="{FF2B5EF4-FFF2-40B4-BE49-F238E27FC236}">
                <a16:creationId xmlns:a16="http://schemas.microsoft.com/office/drawing/2014/main" id="{18909FF4-9841-D297-7072-C8A147F52FDF}"/>
              </a:ext>
            </a:extLst>
          </p:cNvPr>
          <p:cNvGrpSpPr/>
          <p:nvPr/>
        </p:nvGrpSpPr>
        <p:grpSpPr>
          <a:xfrm>
            <a:off x="878376" y="1972524"/>
            <a:ext cx="7956676" cy="601021"/>
            <a:chOff x="883255" y="1537092"/>
            <a:chExt cx="7956676" cy="601021"/>
          </a:xfrm>
        </p:grpSpPr>
        <p:sp>
          <p:nvSpPr>
            <p:cNvPr id="14" name="テキスト ボックス 13">
              <a:extLst>
                <a:ext uri="{FF2B5EF4-FFF2-40B4-BE49-F238E27FC236}">
                  <a16:creationId xmlns:a16="http://schemas.microsoft.com/office/drawing/2014/main" id="{5F2BA181-36D3-E219-D85A-265C720C9EE2}"/>
                </a:ext>
              </a:extLst>
            </p:cNvPr>
            <p:cNvSpPr txBox="1"/>
            <p:nvPr/>
          </p:nvSpPr>
          <p:spPr>
            <a:xfrm>
              <a:off x="883255" y="1553338"/>
              <a:ext cx="2681366"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Chrome</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17" name="テキスト ボックス 16">
              <a:extLst>
                <a:ext uri="{FF2B5EF4-FFF2-40B4-BE49-F238E27FC236}">
                  <a16:creationId xmlns:a16="http://schemas.microsoft.com/office/drawing/2014/main" id="{508EBB4C-2B8E-59AD-A07E-6D06D33858A7}"/>
                </a:ext>
              </a:extLst>
            </p:cNvPr>
            <p:cNvSpPr txBox="1"/>
            <p:nvPr/>
          </p:nvSpPr>
          <p:spPr>
            <a:xfrm>
              <a:off x="3698822" y="1552018"/>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0F6F90D7-B8B1-8BC9-9691-289674E3C372}"/>
                </a:ext>
              </a:extLst>
            </p:cNvPr>
            <p:cNvSpPr txBox="1"/>
            <p:nvPr/>
          </p:nvSpPr>
          <p:spPr>
            <a:xfrm>
              <a:off x="6474516" y="1537092"/>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今日のニュース」</a:t>
              </a:r>
              <a:endParaRPr lang="en-US" altLang="ja-JP" sz="1600" b="1" dirty="0">
                <a:latin typeface="メイリオ"/>
                <a:ea typeface="メイリオ"/>
              </a:endParaRPr>
            </a:p>
            <a:p>
              <a:r>
                <a:rPr lang="ja-JP" altLang="en-US" sz="1600" b="1" dirty="0">
                  <a:latin typeface="メイリオ"/>
                  <a:ea typeface="メイリオ"/>
                </a:rPr>
                <a:t>と入力する</a:t>
              </a:r>
              <a:endParaRPr lang="en-US" altLang="ja-JP" sz="1600" b="1" dirty="0">
                <a:latin typeface="メイリオ"/>
                <a:ea typeface="メイリオ"/>
              </a:endParaRPr>
            </a:p>
          </p:txBody>
        </p:sp>
      </p:grpSp>
      <p:sp>
        <p:nvSpPr>
          <p:cNvPr id="29" name="タイトル 1">
            <a:extLst>
              <a:ext uri="{FF2B5EF4-FFF2-40B4-BE49-F238E27FC236}">
                <a16:creationId xmlns:a16="http://schemas.microsoft.com/office/drawing/2014/main" id="{EA3ED9D1-A40F-EF08-03AD-BD4107B2F111}"/>
              </a:ext>
            </a:extLst>
          </p:cNvPr>
          <p:cNvSpPr>
            <a:spLocks noGrp="1" noChangeAspect="1"/>
          </p:cNvSpPr>
          <p:nvPr>
            <p:ph type="ctrTitle"/>
          </p:nvPr>
        </p:nvSpPr>
        <p:spPr>
          <a:xfrm>
            <a:off x="1770127" y="200562"/>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p>
        </p:txBody>
      </p:sp>
      <p:pic>
        <p:nvPicPr>
          <p:cNvPr id="32" name="図 31" descr="アイコン&#10;&#10;中程度の精度で自動的に生成された説明">
            <a:extLst>
              <a:ext uri="{FF2B5EF4-FFF2-40B4-BE49-F238E27FC236}">
                <a16:creationId xmlns:a16="http://schemas.microsoft.com/office/drawing/2014/main" id="{53F94999-06C5-99CD-5DF5-8CC0D40E0704}"/>
              </a:ext>
            </a:extLst>
          </p:cNvPr>
          <p:cNvPicPr>
            <a:picLocks noChangeAspect="1"/>
          </p:cNvPicPr>
          <p:nvPr/>
        </p:nvPicPr>
        <p:blipFill>
          <a:blip r:embed="rId11"/>
          <a:stretch>
            <a:fillRect/>
          </a:stretch>
        </p:blipFill>
        <p:spPr>
          <a:xfrm>
            <a:off x="2016917" y="1927144"/>
            <a:ext cx="401067" cy="401067"/>
          </a:xfrm>
          <a:prstGeom prst="rect">
            <a:avLst/>
          </a:prstGeom>
        </p:spPr>
      </p:pic>
      <p:grpSp>
        <p:nvGrpSpPr>
          <p:cNvPr id="33" name="図形グループ 108">
            <a:extLst>
              <a:ext uri="{FF2B5EF4-FFF2-40B4-BE49-F238E27FC236}">
                <a16:creationId xmlns:a16="http://schemas.microsoft.com/office/drawing/2014/main" id="{98B07A23-AE90-7772-E393-5CE5B01324E7}"/>
              </a:ext>
            </a:extLst>
          </p:cNvPr>
          <p:cNvGrpSpPr/>
          <p:nvPr/>
        </p:nvGrpSpPr>
        <p:grpSpPr>
          <a:xfrm>
            <a:off x="1459599" y="4869160"/>
            <a:ext cx="296587" cy="293005"/>
            <a:chOff x="2897417" y="3995693"/>
            <a:chExt cx="296587" cy="293005"/>
          </a:xfrm>
        </p:grpSpPr>
        <p:sp>
          <p:nvSpPr>
            <p:cNvPr id="37" name="円/楕円 114">
              <a:extLst>
                <a:ext uri="{FF2B5EF4-FFF2-40B4-BE49-F238E27FC236}">
                  <a16:creationId xmlns:a16="http://schemas.microsoft.com/office/drawing/2014/main" id="{7AC3D641-E082-A47C-D5D5-0D070874F19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4B8F76D3-E859-F772-6F9E-170E06C864D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4" name="図形グループ 93">
            <a:extLst>
              <a:ext uri="{FF2B5EF4-FFF2-40B4-BE49-F238E27FC236}">
                <a16:creationId xmlns:a16="http://schemas.microsoft.com/office/drawing/2014/main" id="{2EAB0BD6-F132-0F85-737B-1964AFEB8A1B}"/>
              </a:ext>
            </a:extLst>
          </p:cNvPr>
          <p:cNvGrpSpPr/>
          <p:nvPr/>
        </p:nvGrpSpPr>
        <p:grpSpPr>
          <a:xfrm>
            <a:off x="3592938" y="2907852"/>
            <a:ext cx="296586" cy="293005"/>
            <a:chOff x="3546641" y="3995693"/>
            <a:chExt cx="296586" cy="293005"/>
          </a:xfrm>
        </p:grpSpPr>
        <p:sp>
          <p:nvSpPr>
            <p:cNvPr id="49" name="円/楕円 106">
              <a:extLst>
                <a:ext uri="{FF2B5EF4-FFF2-40B4-BE49-F238E27FC236}">
                  <a16:creationId xmlns:a16="http://schemas.microsoft.com/office/drawing/2014/main" id="{BF1A1F50-C7B7-8F6B-6B8C-42ECA936168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107">
              <a:extLst>
                <a:ext uri="{FF2B5EF4-FFF2-40B4-BE49-F238E27FC236}">
                  <a16:creationId xmlns:a16="http://schemas.microsoft.com/office/drawing/2014/main" id="{893D3C15-3CBD-A70D-E394-5888622FF81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3" name="四角形: 角を丸くする 52">
            <a:extLst>
              <a:ext uri="{FF2B5EF4-FFF2-40B4-BE49-F238E27FC236}">
                <a16:creationId xmlns:a16="http://schemas.microsoft.com/office/drawing/2014/main" id="{F0795570-E1D0-4EFF-5934-D57B2ED656BC}"/>
              </a:ext>
            </a:extLst>
          </p:cNvPr>
          <p:cNvSpPr/>
          <p:nvPr/>
        </p:nvSpPr>
        <p:spPr>
          <a:xfrm>
            <a:off x="6696591" y="2826015"/>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5" name="矢印: 右 54">
            <a:extLst>
              <a:ext uri="{FF2B5EF4-FFF2-40B4-BE49-F238E27FC236}">
                <a16:creationId xmlns:a16="http://schemas.microsoft.com/office/drawing/2014/main" id="{B62206D4-D6FD-6AF9-7660-6C67BC8EB2F6}"/>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 name="テキスト ボックス 1">
            <a:extLst>
              <a:ext uri="{FF2B5EF4-FFF2-40B4-BE49-F238E27FC236}">
                <a16:creationId xmlns:a16="http://schemas.microsoft.com/office/drawing/2014/main" id="{243162C2-520A-3403-71EB-FC05FCCB7001}"/>
              </a:ext>
            </a:extLst>
          </p:cNvPr>
          <p:cNvSpPr txBox="1"/>
          <p:nvPr/>
        </p:nvSpPr>
        <p:spPr>
          <a:xfrm>
            <a:off x="6962156" y="774644"/>
            <a:ext cx="2037570" cy="43088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100" b="1" dirty="0">
                <a:solidFill>
                  <a:srgbClr val="009650"/>
                </a:solidFill>
                <a:latin typeface="メイリオ" panose="020B0604030504040204" pitchFamily="50" charset="-128"/>
                <a:ea typeface="メイリオ" panose="020B0604030504040204" pitchFamily="50" charset="-128"/>
              </a:rPr>
              <a:t>「</a:t>
            </a:r>
            <a:r>
              <a:rPr lang="en-US" altLang="ja-JP" sz="1100" b="1" dirty="0">
                <a:solidFill>
                  <a:srgbClr val="009650"/>
                </a:solidFill>
                <a:latin typeface="メイリオ" panose="020B0604030504040204" pitchFamily="50" charset="-128"/>
                <a:ea typeface="メイリオ" panose="020B0604030504040204" pitchFamily="50" charset="-128"/>
              </a:rPr>
              <a:t>Chrome</a:t>
            </a:r>
            <a:r>
              <a:rPr lang="ja-JP" altLang="en-US" sz="1100" b="1" dirty="0">
                <a:solidFill>
                  <a:srgbClr val="009650"/>
                </a:solidFill>
                <a:latin typeface="メイリオ" panose="020B0604030504040204" pitchFamily="50" charset="-128"/>
                <a:ea typeface="メイリオ" panose="020B0604030504040204" pitchFamily="50" charset="-128"/>
              </a:rPr>
              <a:t>」バージョン：</a:t>
            </a:r>
            <a:endParaRPr lang="en-US" altLang="ja-JP" sz="1100" b="1" dirty="0">
              <a:solidFill>
                <a:srgbClr val="009650"/>
              </a:solidFill>
              <a:latin typeface="メイリオ" panose="020B0604030504040204" pitchFamily="50" charset="-128"/>
              <a:ea typeface="メイリオ" panose="020B0604030504040204" pitchFamily="50" charset="-128"/>
            </a:endParaRPr>
          </a:p>
          <a:p>
            <a:r>
              <a:rPr lang="en-US" altLang="ja-JP" sz="1100" b="1" dirty="0">
                <a:solidFill>
                  <a:srgbClr val="009650"/>
                </a:solidFill>
                <a:latin typeface="メイリオ" panose="020B0604030504040204" pitchFamily="50" charset="-128"/>
                <a:ea typeface="メイリオ" panose="020B0604030504040204" pitchFamily="50" charset="-128"/>
              </a:rPr>
              <a:t>112.0.5615.135</a:t>
            </a:r>
          </a:p>
        </p:txBody>
      </p:sp>
    </p:spTree>
    <p:extLst>
      <p:ext uri="{BB962C8B-B14F-4D97-AF65-F5344CB8AC3E}">
        <p14:creationId xmlns:p14="http://schemas.microsoft.com/office/powerpoint/2010/main" val="2050990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6" name="Picture 14">
            <a:extLst>
              <a:ext uri="{FF2B5EF4-FFF2-40B4-BE49-F238E27FC236}">
                <a16:creationId xmlns:a16="http://schemas.microsoft.com/office/drawing/2014/main" id="{717CA7FF-072A-3B8D-1433-0854AB5F01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065" y="2653358"/>
            <a:ext cx="1642826" cy="34104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51A37D52-D56F-6925-6591-AA3DF97B3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1231" y="2653358"/>
            <a:ext cx="1642826" cy="341042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7E54F902-6956-757C-C422-19489A9075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16417" y="2678500"/>
            <a:ext cx="1638010" cy="340042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2C61DFF7-4A67-4518-A343-F71E1482A94E}"/>
              </a:ext>
            </a:extLst>
          </p:cNvPr>
          <p:cNvSpPr txBox="1"/>
          <p:nvPr/>
        </p:nvSpPr>
        <p:spPr>
          <a:xfrm>
            <a:off x="3173134" y="195483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2" name="テキスト ボックス 1">
            <a:extLst>
              <a:ext uri="{FF2B5EF4-FFF2-40B4-BE49-F238E27FC236}">
                <a16:creationId xmlns:a16="http://schemas.microsoft.com/office/drawing/2014/main" id="{B13EB012-334E-A834-0C0C-3A4B5225B825}"/>
              </a:ext>
            </a:extLst>
          </p:cNvPr>
          <p:cNvSpPr txBox="1"/>
          <p:nvPr/>
        </p:nvSpPr>
        <p:spPr>
          <a:xfrm>
            <a:off x="403237" y="1931336"/>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34" name="四角形: 角を丸くする 33">
            <a:extLst>
              <a:ext uri="{FF2B5EF4-FFF2-40B4-BE49-F238E27FC236}">
                <a16:creationId xmlns:a16="http://schemas.microsoft.com/office/drawing/2014/main" id="{A7843C16-AEE4-040A-F2A2-9ED5FE470AA0}"/>
              </a:ext>
            </a:extLst>
          </p:cNvPr>
          <p:cNvSpPr/>
          <p:nvPr/>
        </p:nvSpPr>
        <p:spPr>
          <a:xfrm>
            <a:off x="2288840"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矢印: 右 50">
            <a:extLst>
              <a:ext uri="{FF2B5EF4-FFF2-40B4-BE49-F238E27FC236}">
                <a16:creationId xmlns:a16="http://schemas.microsoft.com/office/drawing/2014/main" id="{5BE09C91-7028-91D8-CEA0-99435511B245}"/>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字幕 14">
            <a:extLst>
              <a:ext uri="{FF2B5EF4-FFF2-40B4-BE49-F238E27FC236}">
                <a16:creationId xmlns:a16="http://schemas.microsoft.com/office/drawing/2014/main" id="{5D35D6C4-206B-F7C1-4592-AC05139E2ED7}"/>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Chrome</a:t>
            </a:r>
            <a:r>
              <a:rPr lang="ja-JP" altLang="en-US" sz="2800">
                <a:latin typeface="Meiryo"/>
                <a:ea typeface="Meiryo"/>
              </a:rPr>
              <a:t>でニュースを見てみましょう（キーボード入力）</a:t>
            </a:r>
          </a:p>
          <a:p>
            <a:endParaRPr lang="ja-JP" altLang="en-US" sz="2800" dirty="0"/>
          </a:p>
        </p:txBody>
      </p:sp>
      <p:grpSp>
        <p:nvGrpSpPr>
          <p:cNvPr id="13" name="グループ化 12">
            <a:extLst>
              <a:ext uri="{FF2B5EF4-FFF2-40B4-BE49-F238E27FC236}">
                <a16:creationId xmlns:a16="http://schemas.microsoft.com/office/drawing/2014/main" id="{18909FF4-9841-D297-7072-C8A147F52FDF}"/>
              </a:ext>
            </a:extLst>
          </p:cNvPr>
          <p:cNvGrpSpPr/>
          <p:nvPr/>
        </p:nvGrpSpPr>
        <p:grpSpPr>
          <a:xfrm>
            <a:off x="878376" y="1987450"/>
            <a:ext cx="7956676" cy="555318"/>
            <a:chOff x="883255" y="1552018"/>
            <a:chExt cx="7956676" cy="555318"/>
          </a:xfrm>
        </p:grpSpPr>
        <p:sp>
          <p:nvSpPr>
            <p:cNvPr id="14" name="テキスト ボックス 13">
              <a:extLst>
                <a:ext uri="{FF2B5EF4-FFF2-40B4-BE49-F238E27FC236}">
                  <a16:creationId xmlns:a16="http://schemas.microsoft.com/office/drawing/2014/main" id="{5F2BA181-36D3-E219-D85A-265C720C9EE2}"/>
                </a:ext>
              </a:extLst>
            </p:cNvPr>
            <p:cNvSpPr txBox="1"/>
            <p:nvPr/>
          </p:nvSpPr>
          <p:spPr>
            <a:xfrm>
              <a:off x="883255" y="1553338"/>
              <a:ext cx="2681366"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　　」を押します</a:t>
              </a:r>
              <a:endParaRPr lang="en-US" altLang="ja-JP" sz="1500" b="1" dirty="0">
                <a:latin typeface="メイリオ"/>
                <a:ea typeface="メイリオ"/>
              </a:endParaRPr>
            </a:p>
          </p:txBody>
        </p:sp>
        <p:sp>
          <p:nvSpPr>
            <p:cNvPr id="17" name="テキスト ボックス 16">
              <a:extLst>
                <a:ext uri="{FF2B5EF4-FFF2-40B4-BE49-F238E27FC236}">
                  <a16:creationId xmlns:a16="http://schemas.microsoft.com/office/drawing/2014/main" id="{508EBB4C-2B8E-59AD-A07E-6D06D33858A7}"/>
                </a:ext>
              </a:extLst>
            </p:cNvPr>
            <p:cNvSpPr txBox="1"/>
            <p:nvPr/>
          </p:nvSpPr>
          <p:spPr>
            <a:xfrm>
              <a:off x="3698822" y="1552018"/>
              <a:ext cx="252302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見たい項目を選択する</a:t>
              </a:r>
              <a:endParaRPr lang="en-US" altLang="ja-JP" sz="15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0F6F90D7-B8B1-8BC9-9691-289674E3C372}"/>
                </a:ext>
              </a:extLst>
            </p:cNvPr>
            <p:cNvSpPr txBox="1"/>
            <p:nvPr/>
          </p:nvSpPr>
          <p:spPr>
            <a:xfrm>
              <a:off x="6474516" y="1552018"/>
              <a:ext cx="2365415" cy="323165"/>
            </a:xfrm>
            <a:prstGeom prst="rect">
              <a:avLst/>
            </a:prstGeom>
            <a:noFill/>
          </p:spPr>
          <p:txBody>
            <a:bodyPr wrap="square" lIns="91440" tIns="45720" rIns="91440" bIns="45720" rtlCol="0" anchor="t">
              <a:spAutoFit/>
            </a:bodyPr>
            <a:lstStyle/>
            <a:p>
              <a:r>
                <a:rPr lang="ja-JP" altLang="en-US" sz="1500" b="1">
                  <a:latin typeface="メイリオ"/>
                  <a:ea typeface="メイリオ"/>
                </a:rPr>
                <a:t>ニュースを表示</a:t>
              </a:r>
              <a:endParaRPr lang="ja-JP" altLang="en-US" sz="1500" b="1" dirty="0">
                <a:latin typeface="メイリオ"/>
                <a:ea typeface="メイリオ"/>
              </a:endParaRPr>
            </a:p>
          </p:txBody>
        </p:sp>
      </p:grpSp>
      <p:sp>
        <p:nvSpPr>
          <p:cNvPr id="29" name="タイトル 1">
            <a:extLst>
              <a:ext uri="{FF2B5EF4-FFF2-40B4-BE49-F238E27FC236}">
                <a16:creationId xmlns:a16="http://schemas.microsoft.com/office/drawing/2014/main" id="{EA3ED9D1-A40F-EF08-03AD-BD4107B2F111}"/>
              </a:ext>
            </a:extLst>
          </p:cNvPr>
          <p:cNvSpPr>
            <a:spLocks noGrp="1" noChangeAspect="1"/>
          </p:cNvSpPr>
          <p:nvPr>
            <p:ph type="ctrTitle"/>
          </p:nvPr>
        </p:nvSpPr>
        <p:spPr>
          <a:xfrm>
            <a:off x="1770127" y="200562"/>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p>
        </p:txBody>
      </p:sp>
      <p:sp>
        <p:nvSpPr>
          <p:cNvPr id="5" name="矢印: 右 4">
            <a:extLst>
              <a:ext uri="{FF2B5EF4-FFF2-40B4-BE49-F238E27FC236}">
                <a16:creationId xmlns:a16="http://schemas.microsoft.com/office/drawing/2014/main" id="{E5A3F479-A837-2221-1E81-8E8AF3E81CFE}"/>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5" name="AutoShape 6">
            <a:extLst>
              <a:ext uri="{FF2B5EF4-FFF2-40B4-BE49-F238E27FC236}">
                <a16:creationId xmlns:a16="http://schemas.microsoft.com/office/drawing/2014/main" id="{E31FF82C-873C-35A4-1B1A-16DB2F487C94}"/>
              </a:ext>
            </a:extLst>
          </p:cNvPr>
          <p:cNvSpPr>
            <a:spLocks noChangeAspect="1" noChangeArrowheads="1"/>
          </p:cNvSpPr>
          <p:nvPr/>
        </p:nvSpPr>
        <p:spPr bwMode="auto">
          <a:xfrm>
            <a:off x="3067050" y="304800"/>
            <a:ext cx="3009900" cy="6248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四角形: 角を丸くする 18">
            <a:extLst>
              <a:ext uri="{FF2B5EF4-FFF2-40B4-BE49-F238E27FC236}">
                <a16:creationId xmlns:a16="http://schemas.microsoft.com/office/drawing/2014/main" id="{AE0B058B-4F25-3BE9-1226-89BE4EA6123D}"/>
              </a:ext>
            </a:extLst>
          </p:cNvPr>
          <p:cNvSpPr/>
          <p:nvPr/>
        </p:nvSpPr>
        <p:spPr>
          <a:xfrm>
            <a:off x="3741231" y="3068960"/>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フリーフォーム 92">
            <a:extLst>
              <a:ext uri="{FF2B5EF4-FFF2-40B4-BE49-F238E27FC236}">
                <a16:creationId xmlns:a16="http://schemas.microsoft.com/office/drawing/2014/main" id="{B8B0F463-2E1D-FCC9-B191-DBDEF272A8DF}"/>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83">
            <a:extLst>
              <a:ext uri="{FF2B5EF4-FFF2-40B4-BE49-F238E27FC236}">
                <a16:creationId xmlns:a16="http://schemas.microsoft.com/office/drawing/2014/main" id="{FC51C399-F3A8-49C2-E9B7-1260307C5627}"/>
              </a:ext>
            </a:extLst>
          </p:cNvPr>
          <p:cNvSpPr/>
          <p:nvPr/>
        </p:nvSpPr>
        <p:spPr>
          <a:xfrm>
            <a:off x="3504263" y="289534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Picture 14">
            <a:extLst>
              <a:ext uri="{FF2B5EF4-FFF2-40B4-BE49-F238E27FC236}">
                <a16:creationId xmlns:a16="http://schemas.microsoft.com/office/drawing/2014/main" id="{CAA1A065-294A-5B40-8E11-4EA1B7D6986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9937" t="86908" b="6497"/>
          <a:stretch/>
        </p:blipFill>
        <p:spPr bwMode="auto">
          <a:xfrm>
            <a:off x="1179568" y="2240816"/>
            <a:ext cx="329605" cy="224925"/>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79434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C8672E90-7BA0-E7ED-FBF8-225CEA9037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6417" y="2668502"/>
            <a:ext cx="1643117" cy="34104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A21A2B2-2955-2CF9-957F-5B51465B51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36" name="図 4" descr="携帯電話の画面&#10;&#10;説明は自動で生成されたものです">
            <a:extLst>
              <a:ext uri="{FF2B5EF4-FFF2-40B4-BE49-F238E27FC236}">
                <a16:creationId xmlns:a16="http://schemas.microsoft.com/office/drawing/2014/main" id="{C7BDB2DD-B62D-9E83-0D27-C6663710D1DC}"/>
              </a:ext>
            </a:extLst>
          </p:cNvPr>
          <p:cNvPicPr>
            <a:picLocks noChangeAspect="1"/>
          </p:cNvPicPr>
          <p:nvPr/>
        </p:nvPicPr>
        <p:blipFill>
          <a:blip r:embed="rId8"/>
          <a:stretch>
            <a:fillRect/>
          </a:stretch>
        </p:blipFill>
        <p:spPr>
          <a:xfrm>
            <a:off x="-98504" y="2438401"/>
            <a:ext cx="3839735" cy="3839735"/>
          </a:xfrm>
          <a:prstGeom prst="rect">
            <a:avLst/>
          </a:prstGeom>
        </p:spPr>
      </p:pic>
      <p:pic>
        <p:nvPicPr>
          <p:cNvPr id="42" name="図 41" descr="グラフィカル ユーザー インターフェイス, アプリケーション&#10;&#10;説明は自動で生成されたものです">
            <a:extLst>
              <a:ext uri="{FF2B5EF4-FFF2-40B4-BE49-F238E27FC236}">
                <a16:creationId xmlns:a16="http://schemas.microsoft.com/office/drawing/2014/main" id="{002DA5E2-2DD5-7B3B-BFD2-3A80380908AE}"/>
              </a:ext>
            </a:extLst>
          </p:cNvPr>
          <p:cNvPicPr>
            <a:picLocks noChangeAspect="1"/>
          </p:cNvPicPr>
          <p:nvPr/>
        </p:nvPicPr>
        <p:blipFill>
          <a:blip r:embed="rId9"/>
          <a:stretch>
            <a:fillRect/>
          </a:stretch>
        </p:blipFill>
        <p:spPr>
          <a:xfrm>
            <a:off x="1053838" y="2721671"/>
            <a:ext cx="1534337" cy="3204117"/>
          </a:xfrm>
          <a:prstGeom prst="rect">
            <a:avLst/>
          </a:prstGeom>
        </p:spPr>
      </p:pic>
      <p:sp>
        <p:nvSpPr>
          <p:cNvPr id="34" name="四角形: 角を丸くする 33">
            <a:extLst>
              <a:ext uri="{FF2B5EF4-FFF2-40B4-BE49-F238E27FC236}">
                <a16:creationId xmlns:a16="http://schemas.microsoft.com/office/drawing/2014/main" id="{A7843C16-AEE4-040A-F2A2-9ED5FE470AA0}"/>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四角形: 角を丸くする 44">
            <a:extLst>
              <a:ext uri="{FF2B5EF4-FFF2-40B4-BE49-F238E27FC236}">
                <a16:creationId xmlns:a16="http://schemas.microsoft.com/office/drawing/2014/main" id="{C394ADDC-4B0C-7F6B-24B7-BA36E472BEF0}"/>
              </a:ext>
            </a:extLst>
          </p:cNvPr>
          <p:cNvSpPr/>
          <p:nvPr/>
        </p:nvSpPr>
        <p:spPr>
          <a:xfrm flipH="1">
            <a:off x="4993042" y="3140967"/>
            <a:ext cx="203658" cy="19254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7" name="図 46">
            <a:extLst>
              <a:ext uri="{FF2B5EF4-FFF2-40B4-BE49-F238E27FC236}">
                <a16:creationId xmlns:a16="http://schemas.microsoft.com/office/drawing/2014/main" id="{A60285F3-414E-C8D7-8BE5-87A01CB33EFB}"/>
              </a:ext>
            </a:extLst>
          </p:cNvPr>
          <p:cNvPicPr>
            <a:picLocks noChangeAspect="1"/>
          </p:cNvPicPr>
          <p:nvPr/>
        </p:nvPicPr>
        <p:blipFill>
          <a:blip r:embed="rId10"/>
          <a:stretch>
            <a:fillRect/>
          </a:stretch>
        </p:blipFill>
        <p:spPr>
          <a:xfrm>
            <a:off x="1749232" y="2678500"/>
            <a:ext cx="134977" cy="134977"/>
          </a:xfrm>
          <a:prstGeom prst="rect">
            <a:avLst/>
          </a:prstGeom>
        </p:spPr>
      </p:pic>
      <p:sp>
        <p:nvSpPr>
          <p:cNvPr id="51" name="矢印: 右 50">
            <a:extLst>
              <a:ext uri="{FF2B5EF4-FFF2-40B4-BE49-F238E27FC236}">
                <a16:creationId xmlns:a16="http://schemas.microsoft.com/office/drawing/2014/main" id="{5BE09C91-7028-91D8-CEA0-99435511B245}"/>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字幕 14">
            <a:extLst>
              <a:ext uri="{FF2B5EF4-FFF2-40B4-BE49-F238E27FC236}">
                <a16:creationId xmlns:a16="http://schemas.microsoft.com/office/drawing/2014/main" id="{5D35D6C4-206B-F7C1-4592-AC05139E2ED7}"/>
              </a:ext>
            </a:extLst>
          </p:cNvPr>
          <p:cNvSpPr>
            <a:spLocks noGrp="1"/>
          </p:cNvSpPr>
          <p:nvPr>
            <p:ph type="subTitle" idx="1"/>
          </p:nvPr>
        </p:nvSpPr>
        <p:spPr>
          <a:xfrm>
            <a:off x="507804" y="1484824"/>
            <a:ext cx="8384676" cy="360000"/>
          </a:xfrm>
        </p:spPr>
        <p:txBody>
          <a:bodyPr>
            <a:normAutofit fontScale="85000" lnSpcReduction="20000"/>
          </a:bodyPr>
          <a:lstStyle/>
          <a:p>
            <a:r>
              <a:rPr lang="en-US" altLang="ja-JP" sz="2800" dirty="0"/>
              <a:t>Chrome</a:t>
            </a:r>
            <a:r>
              <a:rPr lang="ja-JP" altLang="en-US" sz="2800" dirty="0"/>
              <a:t>でニュースを見てみましょう（音声入力）</a:t>
            </a:r>
          </a:p>
          <a:p>
            <a:endParaRPr lang="ja-JP" altLang="en-US" sz="2800" dirty="0"/>
          </a:p>
        </p:txBody>
      </p:sp>
      <p:sp>
        <p:nvSpPr>
          <p:cNvPr id="8" name="テキスト ボックス 7">
            <a:extLst>
              <a:ext uri="{FF2B5EF4-FFF2-40B4-BE49-F238E27FC236}">
                <a16:creationId xmlns:a16="http://schemas.microsoft.com/office/drawing/2014/main" id="{36CD5D6C-5E9A-87AF-E5AC-7295AC4937E5}"/>
              </a:ext>
            </a:extLst>
          </p:cNvPr>
          <p:cNvSpPr txBox="1"/>
          <p:nvPr/>
        </p:nvSpPr>
        <p:spPr>
          <a:xfrm>
            <a:off x="5921705" y="187768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99D9A4AE-C064-D3B7-5407-2F191FF35956}"/>
              </a:ext>
            </a:extLst>
          </p:cNvPr>
          <p:cNvSpPr txBox="1"/>
          <p:nvPr/>
        </p:nvSpPr>
        <p:spPr>
          <a:xfrm>
            <a:off x="3173134"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0834595F-B5B9-2511-981D-730A1F66345B}"/>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13" name="グループ化 12">
            <a:extLst>
              <a:ext uri="{FF2B5EF4-FFF2-40B4-BE49-F238E27FC236}">
                <a16:creationId xmlns:a16="http://schemas.microsoft.com/office/drawing/2014/main" id="{18909FF4-9841-D297-7072-C8A147F52FDF}"/>
              </a:ext>
            </a:extLst>
          </p:cNvPr>
          <p:cNvGrpSpPr/>
          <p:nvPr/>
        </p:nvGrpSpPr>
        <p:grpSpPr>
          <a:xfrm>
            <a:off x="611560" y="1972524"/>
            <a:ext cx="8223492" cy="570244"/>
            <a:chOff x="616439" y="1537092"/>
            <a:chExt cx="8223492" cy="570244"/>
          </a:xfrm>
        </p:grpSpPr>
        <p:sp>
          <p:nvSpPr>
            <p:cNvPr id="14" name="テキスト ボックス 13">
              <a:extLst>
                <a:ext uri="{FF2B5EF4-FFF2-40B4-BE49-F238E27FC236}">
                  <a16:creationId xmlns:a16="http://schemas.microsoft.com/office/drawing/2014/main" id="{5F2BA181-36D3-E219-D85A-265C720C9EE2}"/>
                </a:ext>
              </a:extLst>
            </p:cNvPr>
            <p:cNvSpPr txBox="1"/>
            <p:nvPr/>
          </p:nvSpPr>
          <p:spPr>
            <a:xfrm>
              <a:off x="616439" y="1553338"/>
              <a:ext cx="2681366"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　</a:t>
              </a:r>
              <a:r>
                <a:rPr lang="en-US" altLang="ja-JP" sz="1500" b="1" dirty="0">
                  <a:latin typeface="メイリオ"/>
                  <a:ea typeface="メイリオ"/>
                </a:rPr>
                <a:t>Chrome</a:t>
              </a:r>
              <a:r>
                <a:rPr lang="ja-JP" altLang="en-US" sz="1500" b="1" dirty="0">
                  <a:latin typeface="メイリオ"/>
                  <a:ea typeface="メイリオ"/>
                </a:rPr>
                <a:t>「　　 」</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sp>
          <p:nvSpPr>
            <p:cNvPr id="17" name="テキスト ボックス 16">
              <a:extLst>
                <a:ext uri="{FF2B5EF4-FFF2-40B4-BE49-F238E27FC236}">
                  <a16:creationId xmlns:a16="http://schemas.microsoft.com/office/drawing/2014/main" id="{508EBB4C-2B8E-59AD-A07E-6D06D33858A7}"/>
                </a:ext>
              </a:extLst>
            </p:cNvPr>
            <p:cNvSpPr txBox="1"/>
            <p:nvPr/>
          </p:nvSpPr>
          <p:spPr>
            <a:xfrm>
              <a:off x="3698822" y="1552018"/>
              <a:ext cx="252302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マイクボタン「　　」　　を押す</a:t>
              </a:r>
              <a:endParaRPr lang="en-US" altLang="ja-JP" sz="15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0F6F90D7-B8B1-8BC9-9691-289674E3C372}"/>
                </a:ext>
              </a:extLst>
            </p:cNvPr>
            <p:cNvSpPr txBox="1"/>
            <p:nvPr/>
          </p:nvSpPr>
          <p:spPr>
            <a:xfrm>
              <a:off x="6474516" y="1537092"/>
              <a:ext cx="2365415"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今日のニュース」と</a:t>
              </a:r>
              <a:endParaRPr lang="en-US" altLang="ja-JP" sz="1500" b="1" dirty="0">
                <a:latin typeface="メイリオ"/>
                <a:ea typeface="メイリオ"/>
              </a:endParaRPr>
            </a:p>
            <a:p>
              <a:r>
                <a:rPr lang="ja-JP" altLang="en-US" sz="1500" b="1" dirty="0">
                  <a:latin typeface="メイリオ"/>
                  <a:ea typeface="メイリオ"/>
                </a:rPr>
                <a:t>話しかける</a:t>
              </a:r>
              <a:endParaRPr lang="en-US" altLang="ja-JP" sz="1500" b="1" dirty="0">
                <a:latin typeface="メイリオ"/>
                <a:ea typeface="メイリオ"/>
              </a:endParaRPr>
            </a:p>
          </p:txBody>
        </p:sp>
      </p:grpSp>
      <p:sp>
        <p:nvSpPr>
          <p:cNvPr id="29" name="タイトル 1">
            <a:extLst>
              <a:ext uri="{FF2B5EF4-FFF2-40B4-BE49-F238E27FC236}">
                <a16:creationId xmlns:a16="http://schemas.microsoft.com/office/drawing/2014/main" id="{EA3ED9D1-A40F-EF08-03AD-BD4107B2F111}"/>
              </a:ext>
            </a:extLst>
          </p:cNvPr>
          <p:cNvSpPr>
            <a:spLocks noGrp="1" noChangeAspect="1"/>
          </p:cNvSpPr>
          <p:nvPr>
            <p:ph type="ctrTitle"/>
          </p:nvPr>
        </p:nvSpPr>
        <p:spPr>
          <a:xfrm>
            <a:off x="1770127" y="200562"/>
            <a:ext cx="5109091"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ニュースを見てみましょう</a:t>
            </a:r>
          </a:p>
        </p:txBody>
      </p:sp>
      <p:pic>
        <p:nvPicPr>
          <p:cNvPr id="32" name="図 31" descr="アイコン&#10;&#10;中程度の精度で自動的に生成された説明">
            <a:extLst>
              <a:ext uri="{FF2B5EF4-FFF2-40B4-BE49-F238E27FC236}">
                <a16:creationId xmlns:a16="http://schemas.microsoft.com/office/drawing/2014/main" id="{53F94999-06C5-99CD-5DF5-8CC0D40E0704}"/>
              </a:ext>
            </a:extLst>
          </p:cNvPr>
          <p:cNvPicPr>
            <a:picLocks noChangeAspect="1"/>
          </p:cNvPicPr>
          <p:nvPr/>
        </p:nvPicPr>
        <p:blipFill>
          <a:blip r:embed="rId11"/>
          <a:stretch>
            <a:fillRect/>
          </a:stretch>
        </p:blipFill>
        <p:spPr>
          <a:xfrm>
            <a:off x="1869290" y="1853281"/>
            <a:ext cx="441174" cy="441174"/>
          </a:xfrm>
          <a:prstGeom prst="rect">
            <a:avLst/>
          </a:prstGeom>
        </p:spPr>
      </p:pic>
      <p:grpSp>
        <p:nvGrpSpPr>
          <p:cNvPr id="33" name="図形グループ 108">
            <a:extLst>
              <a:ext uri="{FF2B5EF4-FFF2-40B4-BE49-F238E27FC236}">
                <a16:creationId xmlns:a16="http://schemas.microsoft.com/office/drawing/2014/main" id="{98B07A23-AE90-7772-E393-5CE5B01324E7}"/>
              </a:ext>
            </a:extLst>
          </p:cNvPr>
          <p:cNvGrpSpPr/>
          <p:nvPr/>
        </p:nvGrpSpPr>
        <p:grpSpPr>
          <a:xfrm>
            <a:off x="1459599" y="4869160"/>
            <a:ext cx="296587" cy="293005"/>
            <a:chOff x="2897417" y="3995693"/>
            <a:chExt cx="296587" cy="293005"/>
          </a:xfrm>
        </p:grpSpPr>
        <p:sp>
          <p:nvSpPr>
            <p:cNvPr id="37" name="円/楕円 114">
              <a:extLst>
                <a:ext uri="{FF2B5EF4-FFF2-40B4-BE49-F238E27FC236}">
                  <a16:creationId xmlns:a16="http://schemas.microsoft.com/office/drawing/2014/main" id="{7AC3D641-E082-A47C-D5D5-0D070874F19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4B8F76D3-E859-F772-6F9E-170E06C864D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4" name="図形グループ 93">
            <a:extLst>
              <a:ext uri="{FF2B5EF4-FFF2-40B4-BE49-F238E27FC236}">
                <a16:creationId xmlns:a16="http://schemas.microsoft.com/office/drawing/2014/main" id="{2EAB0BD6-F132-0F85-737B-1964AFEB8A1B}"/>
              </a:ext>
            </a:extLst>
          </p:cNvPr>
          <p:cNvGrpSpPr/>
          <p:nvPr/>
        </p:nvGrpSpPr>
        <p:grpSpPr>
          <a:xfrm>
            <a:off x="4725298" y="2920243"/>
            <a:ext cx="296586" cy="293005"/>
            <a:chOff x="3546641" y="3995693"/>
            <a:chExt cx="296586" cy="293005"/>
          </a:xfrm>
        </p:grpSpPr>
        <p:sp>
          <p:nvSpPr>
            <p:cNvPr id="49" name="円/楕円 106">
              <a:extLst>
                <a:ext uri="{FF2B5EF4-FFF2-40B4-BE49-F238E27FC236}">
                  <a16:creationId xmlns:a16="http://schemas.microsoft.com/office/drawing/2014/main" id="{BF1A1F50-C7B7-8F6B-6B8C-42ECA936168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107">
              <a:extLst>
                <a:ext uri="{FF2B5EF4-FFF2-40B4-BE49-F238E27FC236}">
                  <a16:creationId xmlns:a16="http://schemas.microsoft.com/office/drawing/2014/main" id="{893D3C15-3CBD-A70D-E394-5888622FF81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矢印: 右 54">
            <a:extLst>
              <a:ext uri="{FF2B5EF4-FFF2-40B4-BE49-F238E27FC236}">
                <a16:creationId xmlns:a16="http://schemas.microsoft.com/office/drawing/2014/main" id="{B62206D4-D6FD-6AF9-7660-6C67BC8EB2F6}"/>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098" name="Picture 2">
            <a:extLst>
              <a:ext uri="{FF2B5EF4-FFF2-40B4-BE49-F238E27FC236}">
                <a16:creationId xmlns:a16="http://schemas.microsoft.com/office/drawing/2014/main" id="{A6091EC1-F14A-1AB7-1766-3C1C299420B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48064" y="1891818"/>
            <a:ext cx="344944" cy="385054"/>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5DCFCC7A-6F57-4395-1B8A-29F099CB25BD}"/>
              </a:ext>
            </a:extLst>
          </p:cNvPr>
          <p:cNvSpPr txBox="1"/>
          <p:nvPr/>
        </p:nvSpPr>
        <p:spPr>
          <a:xfrm>
            <a:off x="6461705" y="6177753"/>
            <a:ext cx="1810285" cy="292388"/>
          </a:xfrm>
          <a:prstGeom prst="rect">
            <a:avLst/>
          </a:prstGeom>
          <a:noFill/>
        </p:spPr>
        <p:txBody>
          <a:bodyPr wrap="square" rtlCol="0">
            <a:spAutoFit/>
          </a:bodyPr>
          <a:lstStyle/>
          <a:p>
            <a:r>
              <a:rPr lang="ja-JP" altLang="en-US"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以降は</a:t>
            </a:r>
            <a:r>
              <a:rPr lang="en-US" altLang="ja-JP"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P6</a:t>
            </a:r>
            <a:r>
              <a:rPr lang="ja-JP" altLang="en-US" sz="13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の⑤と同様</a:t>
            </a:r>
            <a:endParaRPr lang="ja-JP" altLang="en-US" sz="1300" b="1" dirty="0">
              <a:solidFill>
                <a:srgbClr val="00965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620529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Picture 4">
            <a:extLst>
              <a:ext uri="{FF2B5EF4-FFF2-40B4-BE49-F238E27FC236}">
                <a16:creationId xmlns:a16="http://schemas.microsoft.com/office/drawing/2014/main" id="{2A3DEF41-5AE4-184A-6205-99A7CEA100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2520" y="2876086"/>
            <a:ext cx="1623363" cy="336942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E1F00351-649D-1C8F-9AF6-63089C0EF8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0458" y="2871408"/>
            <a:ext cx="1625616" cy="33740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矢印: 右 45">
            <a:extLst>
              <a:ext uri="{FF2B5EF4-FFF2-40B4-BE49-F238E27FC236}">
                <a16:creationId xmlns:a16="http://schemas.microsoft.com/office/drawing/2014/main" id="{0634D952-B255-E81D-2877-3CCB4215182A}"/>
              </a:ext>
            </a:extLst>
          </p:cNvPr>
          <p:cNvSpPr/>
          <p:nvPr/>
        </p:nvSpPr>
        <p:spPr>
          <a:xfrm>
            <a:off x="4125425" y="4728725"/>
            <a:ext cx="89315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4" name="四角形: 角を丸くする 33">
            <a:extLst>
              <a:ext uri="{FF2B5EF4-FFF2-40B4-BE49-F238E27FC236}">
                <a16:creationId xmlns:a16="http://schemas.microsoft.com/office/drawing/2014/main" id="{9B721123-D541-CDDE-AF4C-86E36FE25BD8}"/>
              </a:ext>
            </a:extLst>
          </p:cNvPr>
          <p:cNvSpPr/>
          <p:nvPr/>
        </p:nvSpPr>
        <p:spPr>
          <a:xfrm>
            <a:off x="6629049" y="3024395"/>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四角形: 角を丸くする 2">
            <a:extLst>
              <a:ext uri="{FF2B5EF4-FFF2-40B4-BE49-F238E27FC236}">
                <a16:creationId xmlns:a16="http://schemas.microsoft.com/office/drawing/2014/main" id="{6D78B6D3-0533-6088-DAA8-8C73EC97C379}"/>
              </a:ext>
            </a:extLst>
          </p:cNvPr>
          <p:cNvSpPr/>
          <p:nvPr/>
        </p:nvSpPr>
        <p:spPr>
          <a:xfrm>
            <a:off x="3020379" y="299695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Title 1">
            <a:extLst>
              <a:ext uri="{FF2B5EF4-FFF2-40B4-BE49-F238E27FC236}">
                <a16:creationId xmlns:a16="http://schemas.microsoft.com/office/drawing/2014/main" id="{06ACC65F-65CD-D400-8F13-6CBAE1DDC8B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11" name="タイトル 1">
            <a:extLst>
              <a:ext uri="{FF2B5EF4-FFF2-40B4-BE49-F238E27FC236}">
                <a16:creationId xmlns:a16="http://schemas.microsoft.com/office/drawing/2014/main" id="{F2944E03-841D-E3A0-3546-0A0173F89F93}"/>
              </a:ext>
            </a:extLst>
          </p:cNvPr>
          <p:cNvSpPr>
            <a:spLocks noGrp="1" noChangeAspect="1"/>
          </p:cNvSpPr>
          <p:nvPr>
            <p:ph type="ctrTitle"/>
          </p:nvPr>
        </p:nvSpPr>
        <p:spPr>
          <a:xfrm>
            <a:off x="1770127" y="212586"/>
            <a:ext cx="6833922"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spc="-150" dirty="0"/>
              <a:t>気に入ったページをブックマークする</a:t>
            </a:r>
          </a:p>
        </p:txBody>
      </p:sp>
      <p:pic>
        <p:nvPicPr>
          <p:cNvPr id="13" name="図 12" descr="文字の書かれた紙&#10;&#10;中程度の精度で自動的に生成された説明">
            <a:extLst>
              <a:ext uri="{FF2B5EF4-FFF2-40B4-BE49-F238E27FC236}">
                <a16:creationId xmlns:a16="http://schemas.microsoft.com/office/drawing/2014/main" id="{1A3F596A-EAEC-0B85-0D38-09035B3FE83E}"/>
              </a:ext>
            </a:extLst>
          </p:cNvPr>
          <p:cNvPicPr>
            <a:picLocks noChangeAspect="1"/>
          </p:cNvPicPr>
          <p:nvPr/>
        </p:nvPicPr>
        <p:blipFill>
          <a:blip r:embed="rId8"/>
          <a:stretch>
            <a:fillRect/>
          </a:stretch>
        </p:blipFill>
        <p:spPr>
          <a:xfrm>
            <a:off x="7773133" y="1297857"/>
            <a:ext cx="1008247" cy="1107270"/>
          </a:xfrm>
          <a:prstGeom prst="rect">
            <a:avLst/>
          </a:prstGeom>
        </p:spPr>
      </p:pic>
      <p:grpSp>
        <p:nvGrpSpPr>
          <p:cNvPr id="15" name="グループ化 14">
            <a:extLst>
              <a:ext uri="{FF2B5EF4-FFF2-40B4-BE49-F238E27FC236}">
                <a16:creationId xmlns:a16="http://schemas.microsoft.com/office/drawing/2014/main" id="{69FE2D1A-6CF2-2F0A-152B-1BBCEB38B98E}"/>
              </a:ext>
            </a:extLst>
          </p:cNvPr>
          <p:cNvGrpSpPr/>
          <p:nvPr/>
        </p:nvGrpSpPr>
        <p:grpSpPr>
          <a:xfrm>
            <a:off x="884660" y="2137114"/>
            <a:ext cx="7716459" cy="643814"/>
            <a:chOff x="884660" y="1873256"/>
            <a:chExt cx="7716459" cy="643814"/>
          </a:xfrm>
        </p:grpSpPr>
        <p:sp>
          <p:nvSpPr>
            <p:cNvPr id="17" name="テキスト ボックス 16">
              <a:extLst>
                <a:ext uri="{FF2B5EF4-FFF2-40B4-BE49-F238E27FC236}">
                  <a16:creationId xmlns:a16="http://schemas.microsoft.com/office/drawing/2014/main" id="{AB83D716-33C1-8419-B32C-F4D65FFB2EE9}"/>
                </a:ext>
              </a:extLst>
            </p:cNvPr>
            <p:cNvSpPr txBox="1"/>
            <p:nvPr/>
          </p:nvSpPr>
          <p:spPr>
            <a:xfrm>
              <a:off x="5722736" y="1932294"/>
              <a:ext cx="287838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星形のボタン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ブックマーク）を押す</a:t>
              </a:r>
            </a:p>
          </p:txBody>
        </p:sp>
        <p:sp>
          <p:nvSpPr>
            <p:cNvPr id="19" name="テキスト ボックス 18">
              <a:extLst>
                <a:ext uri="{FF2B5EF4-FFF2-40B4-BE49-F238E27FC236}">
                  <a16:creationId xmlns:a16="http://schemas.microsoft.com/office/drawing/2014/main" id="{2B8AB6EC-A2A3-2C3F-A0FA-C2733666E3A6}"/>
                </a:ext>
              </a:extLst>
            </p:cNvPr>
            <p:cNvSpPr txBox="1"/>
            <p:nvPr/>
          </p:nvSpPr>
          <p:spPr>
            <a:xfrm>
              <a:off x="884660" y="18732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82BEA676-3461-E44F-A6E9-EE5001E667E2}"/>
                </a:ext>
              </a:extLst>
            </p:cNvPr>
            <p:cNvSpPr txBox="1"/>
            <p:nvPr/>
          </p:nvSpPr>
          <p:spPr>
            <a:xfrm>
              <a:off x="5182736" y="187325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738A363-A865-6804-E2A9-FF943CAE63B1}"/>
                </a:ext>
              </a:extLst>
            </p:cNvPr>
            <p:cNvSpPr txBox="1"/>
            <p:nvPr/>
          </p:nvSpPr>
          <p:spPr>
            <a:xfrm>
              <a:off x="1420838" y="1932295"/>
              <a:ext cx="3007145"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面右上の３つの点のボタン「　 」を押す</a:t>
              </a:r>
            </a:p>
          </p:txBody>
        </p:sp>
      </p:grpSp>
      <p:sp>
        <p:nvSpPr>
          <p:cNvPr id="23" name="字幕 14">
            <a:extLst>
              <a:ext uri="{FF2B5EF4-FFF2-40B4-BE49-F238E27FC236}">
                <a16:creationId xmlns:a16="http://schemas.microsoft.com/office/drawing/2014/main" id="{5AFED0E1-8CBE-1322-E10A-0A47084C518C}"/>
              </a:ext>
            </a:extLst>
          </p:cNvPr>
          <p:cNvSpPr>
            <a:spLocks noGrp="1"/>
          </p:cNvSpPr>
          <p:nvPr>
            <p:ph type="subTitle" idx="1"/>
          </p:nvPr>
        </p:nvSpPr>
        <p:spPr>
          <a:xfrm>
            <a:off x="539552" y="1340808"/>
            <a:ext cx="8384676" cy="360000"/>
          </a:xfrm>
        </p:spPr>
        <p:txBody>
          <a:bodyPr>
            <a:noAutofit/>
          </a:bodyPr>
          <a:lstStyle/>
          <a:p>
            <a:r>
              <a:rPr lang="ja-JP" altLang="en-US" dirty="0"/>
              <a:t>気に入ったページは、ブックマークに保存しておくと</a:t>
            </a:r>
            <a:endParaRPr lang="en-US" altLang="ja-JP" dirty="0"/>
          </a:p>
          <a:p>
            <a:r>
              <a:rPr lang="ja-JP" altLang="en-US" dirty="0"/>
              <a:t>必要な時にそのページを素早く閲覧できます。</a:t>
            </a:r>
          </a:p>
        </p:txBody>
      </p:sp>
      <p:pic>
        <p:nvPicPr>
          <p:cNvPr id="5126" name="Picture 6">
            <a:extLst>
              <a:ext uri="{FF2B5EF4-FFF2-40B4-BE49-F238E27FC236}">
                <a16:creationId xmlns:a16="http://schemas.microsoft.com/office/drawing/2014/main" id="{ED651332-746B-7B79-8602-E5C8984FF3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71379" y="2165643"/>
            <a:ext cx="287775" cy="28777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A6648FA-7E6A-CD4E-F326-ABC9EE7BE6F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6341" t="4416" b="89669"/>
          <a:stretch/>
        </p:blipFill>
        <p:spPr bwMode="auto">
          <a:xfrm>
            <a:off x="1745646" y="2493932"/>
            <a:ext cx="239229" cy="214988"/>
          </a:xfrm>
          <a:prstGeom prst="rect">
            <a:avLst/>
          </a:prstGeom>
          <a:solidFill>
            <a:schemeClr val="bg1"/>
          </a:solidFill>
          <a:ln>
            <a:solidFill>
              <a:schemeClr val="tx1">
                <a:lumMod val="65000"/>
                <a:lumOff val="35000"/>
              </a:schemeClr>
            </a:solidFill>
          </a:ln>
        </p:spPr>
      </p:pic>
      <p:grpSp>
        <p:nvGrpSpPr>
          <p:cNvPr id="4" name="図形グループ 69">
            <a:extLst>
              <a:ext uri="{FF2B5EF4-FFF2-40B4-BE49-F238E27FC236}">
                <a16:creationId xmlns:a16="http://schemas.microsoft.com/office/drawing/2014/main" id="{89007D8B-E724-F7AB-E8BE-7A9FA594DF3C}"/>
              </a:ext>
            </a:extLst>
          </p:cNvPr>
          <p:cNvGrpSpPr/>
          <p:nvPr/>
        </p:nvGrpSpPr>
        <p:grpSpPr>
          <a:xfrm>
            <a:off x="2850623" y="2758067"/>
            <a:ext cx="296587" cy="293005"/>
            <a:chOff x="2897417" y="3995693"/>
            <a:chExt cx="296587" cy="293005"/>
          </a:xfrm>
        </p:grpSpPr>
        <p:sp>
          <p:nvSpPr>
            <p:cNvPr id="5" name="円/楕円 70">
              <a:extLst>
                <a:ext uri="{FF2B5EF4-FFF2-40B4-BE49-F238E27FC236}">
                  <a16:creationId xmlns:a16="http://schemas.microsoft.com/office/drawing/2014/main" id="{D3B30DD1-9B61-268B-3894-D23FE4F01EB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61F2592A-716A-D71B-04B6-84D2FF54663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図形グループ 61">
            <a:extLst>
              <a:ext uri="{FF2B5EF4-FFF2-40B4-BE49-F238E27FC236}">
                <a16:creationId xmlns:a16="http://schemas.microsoft.com/office/drawing/2014/main" id="{AA0F1C4D-293F-F2E7-AB73-A5FA89940806}"/>
              </a:ext>
            </a:extLst>
          </p:cNvPr>
          <p:cNvGrpSpPr/>
          <p:nvPr/>
        </p:nvGrpSpPr>
        <p:grpSpPr>
          <a:xfrm>
            <a:off x="6411111" y="2830313"/>
            <a:ext cx="296586" cy="293005"/>
            <a:chOff x="3546641" y="3995693"/>
            <a:chExt cx="296586" cy="293005"/>
          </a:xfrm>
        </p:grpSpPr>
        <p:sp>
          <p:nvSpPr>
            <p:cNvPr id="8" name="円/楕円 65">
              <a:extLst>
                <a:ext uri="{FF2B5EF4-FFF2-40B4-BE49-F238E27FC236}">
                  <a16:creationId xmlns:a16="http://schemas.microsoft.com/office/drawing/2014/main" id="{2E14AE74-7A1D-1708-4645-771CBFC2D59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リーフォーム 68">
              <a:extLst>
                <a:ext uri="{FF2B5EF4-FFF2-40B4-BE49-F238E27FC236}">
                  <a16:creationId xmlns:a16="http://schemas.microsoft.com/office/drawing/2014/main" id="{48AB34CF-846B-D155-47CF-66475B68A1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407811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38E6890E-E34B-2ABF-6B5F-D26084AC6B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3535" y="2679103"/>
            <a:ext cx="1638010" cy="33998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79D9F14E-DC5A-0567-6A65-0BECB5710D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39384" y="2653358"/>
            <a:ext cx="1643118" cy="34104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7" name="図 46" descr="Chrome画面の上部の画像">
            <a:extLst>
              <a:ext uri="{FF2B5EF4-FFF2-40B4-BE49-F238E27FC236}">
                <a16:creationId xmlns:a16="http://schemas.microsoft.com/office/drawing/2014/main" id="{4D4AB070-707F-4F94-83D2-7E9CA73A2FDE}"/>
              </a:ext>
            </a:extLst>
          </p:cNvPr>
          <p:cNvPicPr>
            <a:picLocks noChangeAspect="1"/>
          </p:cNvPicPr>
          <p:nvPr/>
        </p:nvPicPr>
        <p:blipFill>
          <a:blip r:embed="rId6"/>
          <a:stretch>
            <a:fillRect/>
          </a:stretch>
        </p:blipFill>
        <p:spPr>
          <a:xfrm>
            <a:off x="804480" y="3406616"/>
            <a:ext cx="1800000" cy="2025313"/>
          </a:xfrm>
          <a:prstGeom prst="rect">
            <a:avLst/>
          </a:prstGeom>
          <a:ln>
            <a:solidFill>
              <a:schemeClr val="tx1"/>
            </a:solidFill>
          </a:ln>
        </p:spPr>
      </p:pic>
      <p:pic>
        <p:nvPicPr>
          <p:cNvPr id="48" name="図 47" descr="画面の右側に表示された「その他」メニュー画面の画像">
            <a:extLst>
              <a:ext uri="{FF2B5EF4-FFF2-40B4-BE49-F238E27FC236}">
                <a16:creationId xmlns:a16="http://schemas.microsoft.com/office/drawing/2014/main" id="{89EE0BEF-DC65-4BFD-B582-BE367BE6BBA0}"/>
              </a:ext>
            </a:extLst>
          </p:cNvPr>
          <p:cNvPicPr>
            <a:picLocks noChangeAspect="1"/>
          </p:cNvPicPr>
          <p:nvPr/>
        </p:nvPicPr>
        <p:blipFill>
          <a:blip r:embed="rId7"/>
          <a:stretch>
            <a:fillRect/>
          </a:stretch>
        </p:blipFill>
        <p:spPr>
          <a:xfrm>
            <a:off x="969007" y="4392652"/>
            <a:ext cx="1800000" cy="1704603"/>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77500" lnSpcReduction="20000"/>
          </a:bodyPr>
          <a:lstStyle/>
          <a:p>
            <a:r>
              <a:rPr lang="ja-JP" altLang="en-US" sz="2800" dirty="0">
                <a:latin typeface="AoyagiKouzanFontT"/>
                <a:cs typeface="AoyagiKouzanFontT"/>
              </a:rPr>
              <a:t>保存</a:t>
            </a:r>
            <a:r>
              <a:rPr lang="ja-JP" altLang="en-US" sz="2800" spc="14" dirty="0">
                <a:latin typeface="AoyagiKouzanFontT"/>
                <a:cs typeface="AoyagiKouzanFontT"/>
              </a:rPr>
              <a:t>し</a:t>
            </a:r>
            <a:r>
              <a:rPr lang="ja-JP" altLang="en-US" sz="2800" spc="7" dirty="0">
                <a:latin typeface="AoyagiKouzanFontT"/>
                <a:cs typeface="AoyagiKouzanFontT"/>
              </a:rPr>
              <a:t>た</a:t>
            </a:r>
            <a:r>
              <a:rPr lang="ja-JP" altLang="en-US" sz="2800" spc="-25" dirty="0">
                <a:latin typeface="AoyagiKouzanFontT"/>
                <a:cs typeface="AoyagiKouzanFontT"/>
              </a:rPr>
              <a:t>ぺ</a:t>
            </a:r>
            <a:r>
              <a:rPr lang="ja-JP" altLang="en-US" sz="2800" spc="-39" dirty="0">
                <a:latin typeface="AoyagiKouzanFontT"/>
                <a:cs typeface="AoyagiKouzanFontT"/>
              </a:rPr>
              <a:t>ー</a:t>
            </a:r>
            <a:r>
              <a:rPr lang="ja-JP" altLang="en-US" sz="2800" spc="-4" dirty="0">
                <a:latin typeface="AoyagiKouzanFontT"/>
                <a:cs typeface="AoyagiKouzanFontT"/>
              </a:rPr>
              <a:t>ジ</a:t>
            </a:r>
            <a:r>
              <a:rPr lang="ja-JP" altLang="en-US" sz="2800" spc="25" dirty="0">
                <a:latin typeface="AoyagiKouzanFontT"/>
                <a:cs typeface="AoyagiKouzanFontT"/>
              </a:rPr>
              <a:t>を</a:t>
            </a:r>
            <a:r>
              <a:rPr lang="ja-JP" altLang="en-US" sz="2800" spc="-28" dirty="0">
                <a:latin typeface="AoyagiKouzanFontT"/>
                <a:cs typeface="AoyagiKouzanFontT"/>
              </a:rPr>
              <a:t>ブ</a:t>
            </a:r>
            <a:r>
              <a:rPr lang="ja-JP" altLang="en-US" sz="2800" spc="11" dirty="0">
                <a:latin typeface="AoyagiKouzanFontT"/>
                <a:cs typeface="AoyagiKouzanFontT"/>
              </a:rPr>
              <a:t>ッ</a:t>
            </a:r>
            <a:r>
              <a:rPr lang="ja-JP" altLang="en-US" sz="2800" spc="-11" dirty="0">
                <a:latin typeface="AoyagiKouzanFontT"/>
                <a:cs typeface="AoyagiKouzanFontT"/>
              </a:rPr>
              <a:t>ク</a:t>
            </a:r>
            <a:r>
              <a:rPr lang="ja-JP" altLang="en-US" sz="2800" spc="7" dirty="0">
                <a:latin typeface="AoyagiKouzanFontT"/>
                <a:cs typeface="AoyagiKouzanFontT"/>
              </a:rPr>
              <a:t>マ</a:t>
            </a:r>
            <a:r>
              <a:rPr lang="ja-JP" altLang="en-US" sz="2800" spc="-39" dirty="0">
                <a:latin typeface="AoyagiKouzanFontT"/>
                <a:cs typeface="AoyagiKouzanFontT"/>
              </a:rPr>
              <a:t>ー</a:t>
            </a:r>
            <a:r>
              <a:rPr lang="ja-JP" altLang="en-US" sz="2800" spc="-11" dirty="0">
                <a:latin typeface="AoyagiKouzanFontT"/>
                <a:cs typeface="AoyagiKouzanFontT"/>
              </a:rPr>
              <a:t>ク</a:t>
            </a:r>
            <a:r>
              <a:rPr lang="ja-JP" altLang="en-US" sz="2800" spc="-14" dirty="0">
                <a:latin typeface="AoyagiKouzanFontT"/>
                <a:cs typeface="AoyagiKouzanFontT"/>
              </a:rPr>
              <a:t>か</a:t>
            </a:r>
            <a:r>
              <a:rPr lang="ja-JP" altLang="en-US" sz="2800" spc="7" dirty="0">
                <a:latin typeface="AoyagiKouzanFontT"/>
                <a:cs typeface="AoyagiKouzanFontT"/>
              </a:rPr>
              <a:t>ら開</a:t>
            </a:r>
            <a:r>
              <a:rPr lang="ja-JP" altLang="en-US" sz="2800" spc="-14" dirty="0">
                <a:latin typeface="AoyagiKouzanFontT"/>
                <a:cs typeface="AoyagiKouzanFontT"/>
              </a:rPr>
              <a:t>く方法。</a:t>
            </a:r>
            <a:endParaRPr lang="ja-JP" altLang="en-US" sz="28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64" name="正方形/長方形 63"/>
          <p:cNvSpPr>
            <a:spLocks noChangeAspect="1"/>
          </p:cNvSpPr>
          <p:nvPr/>
        </p:nvSpPr>
        <p:spPr>
          <a:xfrm>
            <a:off x="2320860" y="3507357"/>
            <a:ext cx="288000" cy="288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04038" y="1939064"/>
            <a:ext cx="270000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開きたいページ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739384" y="2963701"/>
            <a:ext cx="1656000" cy="32400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400859" y="5738418"/>
            <a:ext cx="1062820" cy="3588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6082" y="184482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5206" y="185019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5900481" y="187573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04480" y="1939064"/>
            <a:ext cx="2456506"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画面右上</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３つの点のボタン</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sz="1600"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64000" y="1939064"/>
            <a:ext cx="2880000"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noChangeAspect="1"/>
          </p:cNvSpPr>
          <p:nvPr>
            <p:ph type="ctrTitle"/>
          </p:nvPr>
        </p:nvSpPr>
        <p:spPr>
          <a:xfrm>
            <a:off x="1770127" y="215920"/>
            <a:ext cx="5929828" cy="861774"/>
          </a:xfrm>
        </p:spPr>
        <p:txBody>
          <a:bodyPr vert="horz" wrap="none">
            <a:spAutoFit/>
          </a:bodyPr>
          <a:lstStyle/>
          <a:p>
            <a:pPr>
              <a:lnSpc>
                <a:spcPct val="100000"/>
              </a:lnSpc>
            </a:pPr>
            <a:r>
              <a:rPr kumimoji="0" lang="ja-JP" altLang="en-US" sz="1800" kern="0" dirty="0"/>
              <a:t>インターネットをブラウザで閲覧する</a:t>
            </a:r>
            <a:br>
              <a:rPr kumimoji="0" lang="ja-JP" altLang="en-US" sz="1800" kern="0" dirty="0"/>
            </a:br>
            <a:r>
              <a:rPr kumimoji="0" lang="ja-JP" altLang="en-US" kern="0" dirty="0"/>
              <a:t>ブックマークからページを開く</a:t>
            </a: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725656" y="2839612"/>
            <a:ext cx="270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ja-JP" altLang="ja-JP" sz="1600"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326082" y="271875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grpSp>
        <p:nvGrpSpPr>
          <p:cNvPr id="70" name="図形グループ 69"/>
          <p:cNvGrpSpPr/>
          <p:nvPr/>
        </p:nvGrpSpPr>
        <p:grpSpPr>
          <a:xfrm>
            <a:off x="3538175" y="2807916"/>
            <a:ext cx="296586" cy="293005"/>
            <a:chOff x="4232441" y="3995693"/>
            <a:chExt cx="296586" cy="293005"/>
          </a:xfrm>
        </p:grpSpPr>
        <p:sp>
          <p:nvSpPr>
            <p:cNvPr id="71" name="円/楕円 7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1262362" y="5586855"/>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2170848" y="3358596"/>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矢印: 右 6">
            <a:extLst>
              <a:ext uri="{FF2B5EF4-FFF2-40B4-BE49-F238E27FC236}">
                <a16:creationId xmlns:a16="http://schemas.microsoft.com/office/drawing/2014/main" id="{A39C134F-B932-6816-7624-0DCE5A8417F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 name="矢印: 右 7">
            <a:extLst>
              <a:ext uri="{FF2B5EF4-FFF2-40B4-BE49-F238E27FC236}">
                <a16:creationId xmlns:a16="http://schemas.microsoft.com/office/drawing/2014/main" id="{4ED2EE70-BAB1-92D5-F645-A7490A27C71E}"/>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61C211CB-BF2A-F9E5-FA5C-9423AB0923A1}"/>
              </a:ext>
            </a:extLst>
          </p:cNvPr>
          <p:cNvSpPr/>
          <p:nvPr/>
        </p:nvSpPr>
        <p:spPr>
          <a:xfrm rot="5400000">
            <a:off x="2203891" y="384841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 name="Picture 2">
            <a:extLst>
              <a:ext uri="{FF2B5EF4-FFF2-40B4-BE49-F238E27FC236}">
                <a16:creationId xmlns:a16="http://schemas.microsoft.com/office/drawing/2014/main" id="{8D924651-384D-BF4C-321A-E8DB65FCDBE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86341" t="4416" b="89669"/>
          <a:stretch/>
        </p:blipFill>
        <p:spPr bwMode="auto">
          <a:xfrm>
            <a:off x="1138766" y="2444038"/>
            <a:ext cx="239229" cy="214988"/>
          </a:xfrm>
          <a:prstGeom prst="rect">
            <a:avLst/>
          </a:prstGeom>
          <a:solidFill>
            <a:schemeClr val="bg1"/>
          </a:solidFill>
          <a:ln>
            <a:solidFill>
              <a:schemeClr val="tx1">
                <a:lumMod val="65000"/>
                <a:lumOff val="35000"/>
              </a:schemeClr>
            </a:solidFill>
          </a:ln>
        </p:spPr>
      </p:pic>
    </p:spTree>
    <p:extLst>
      <p:ext uri="{BB962C8B-B14F-4D97-AF65-F5344CB8AC3E}">
        <p14:creationId xmlns:p14="http://schemas.microsoft.com/office/powerpoint/2010/main" val="1749244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F9E89BB-BD4E-420A-B282-DFBC2E5EEED0}">
  <ds:schemaRefs>
    <ds:schemaRef ds:uri="http://schemas.openxmlformats.org/package/2006/metadata/core-properties"/>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d918bb13-3424-4586-993b-46f0e11e56be"/>
    <ds:schemaRef ds:uri="f76e264c-1dae-49a6-9e2d-2d1e2f2d3ceb"/>
    <ds:schemaRef ds:uri="http://purl.org/dc/terms/"/>
    <ds:schemaRef ds:uri="http://purl.org/dc/dcmitype/"/>
    <ds:schemaRef ds:uri="http://purl.org/dc/elements/1.1/"/>
    <ds:schemaRef ds:uri="5a94758e-c8be-436b-8dd4-04f3bfa5fa2d"/>
    <ds:schemaRef ds:uri="ef1e3305-dcf4-461c-9e9e-c744d35d3738"/>
  </ds:schemaRefs>
</ds:datastoreItem>
</file>

<file path=customXml/itemProps2.xml><?xml version="1.0" encoding="utf-8"?>
<ds:datastoreItem xmlns:ds="http://schemas.openxmlformats.org/officeDocument/2006/customXml" ds:itemID="{B1BF204C-9FB0-4DDA-AD12-F15C7F539A4F}"/>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905</Words>
  <Application>Microsoft Office PowerPoint</Application>
  <PresentationFormat>On-screen Show (4:3)</PresentationFormat>
  <Paragraphs>164</Paragraphs>
  <Slides>13</Slides>
  <Notes>13</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ホワイト</vt:lpstr>
      <vt:lpstr>1_デザインの設定</vt:lpstr>
      <vt:lpstr>デザインの設定</vt:lpstr>
      <vt:lpstr>PowerPoint Presentation</vt:lpstr>
      <vt:lpstr>PowerPoint Presentation</vt:lpstr>
      <vt:lpstr>PowerPoint Presentation</vt:lpstr>
      <vt:lpstr>インターネットをブラウザで閲覧する Chrome（クローム）とは</vt:lpstr>
      <vt:lpstr>インターネットをブラウザで閲覧する ニュースを見てみましょう</vt:lpstr>
      <vt:lpstr>インターネットをブラウザで閲覧する ニュースを見てみましょう</vt:lpstr>
      <vt:lpstr>インターネットをブラウザで閲覧する ニュースを見てみましょう</vt:lpstr>
      <vt:lpstr>インターネットをブラウザで閲覧する 気に入ったページをブックマークする</vt:lpstr>
      <vt:lpstr>インターネットをブラウザで閲覧する ブックマークからページを開く</vt:lpstr>
      <vt:lpstr>インターネットをブラウザで閲覧する ブックマークからページを削除する</vt:lpstr>
      <vt:lpstr>インターネットをブラウザで閲覧する 履歴からページを開く</vt:lpstr>
      <vt:lpstr>インターネットを使う時の注意点</vt:lpstr>
      <vt:lpstr>インターネットを使う時の注意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92</cp:revision>
  <dcterms:created xsi:type="dcterms:W3CDTF">2021-08-16T09:05:36Z</dcterms:created>
  <dcterms:modified xsi:type="dcterms:W3CDTF">2023-06-12T05: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r8>19700</vt:r8>
  </property>
  <property fmtid="{D5CDD505-2E9C-101B-9397-08002B2CF9AE}" pid="5" name="xd_Signature">
    <vt:bool>false</vt:bool>
  </property>
  <property fmtid="{D5CDD505-2E9C-101B-9397-08002B2CF9AE}" pid="6" name="xd_ProgID">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_SourceUrl">
    <vt:lpwstr/>
  </property>
  <property fmtid="{D5CDD505-2E9C-101B-9397-08002B2CF9AE}" pid="12" name="_SharedFileIndex">
    <vt:lpwstr/>
  </property>
</Properties>
</file>